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36.xml" ContentType="application/vnd.openxmlformats-officedocument.presentationml.tags+xml"/>
  <Override PartName="/ppt/theme/theme5.xml" ContentType="application/vnd.openxmlformats-officedocument.theme+xml"/>
  <Override PartName="/ppt/tags/tag237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notesSlides/notesSlide1.xml" ContentType="application/vnd.openxmlformats-officedocument.presentationml.notesSlide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1" r:id="rId1"/>
    <p:sldMasterId id="2147484066" r:id="rId2"/>
    <p:sldMasterId id="2147484151" r:id="rId3"/>
    <p:sldMasterId id="2147484192" r:id="rId4"/>
    <p:sldMasterId id="2147484276" r:id="rId5"/>
    <p:sldMasterId id="2147484360" r:id="rId6"/>
    <p:sldMasterId id="2147484439" r:id="rId7"/>
    <p:sldMasterId id="2147484446" r:id="rId8"/>
  </p:sldMasterIdLst>
  <p:notesMasterIdLst>
    <p:notesMasterId r:id="rId13"/>
  </p:notesMasterIdLst>
  <p:sldIdLst>
    <p:sldId id="2147470973" r:id="rId9"/>
    <p:sldId id="2147471223" r:id="rId10"/>
    <p:sldId id="2147471212" r:id="rId11"/>
    <p:sldId id="2147471221" r:id="rId12"/>
  </p:sldIdLst>
  <p:sldSz cx="12192000" cy="6858000"/>
  <p:notesSz cx="6797675" cy="9929813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телкин Александр Анатольевич" initials="МАА" lastIdx="10" clrIdx="0">
    <p:extLst>
      <p:ext uri="{19B8F6BF-5375-455C-9EA6-DF929625EA0E}">
        <p15:presenceInfo xmlns:p15="http://schemas.microsoft.com/office/powerpoint/2012/main" userId="S-1-5-21-3950928227-2480906471-1644397033-59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A3953"/>
    <a:srgbClr val="FCDEE3"/>
    <a:srgbClr val="404040"/>
    <a:srgbClr val="E6E5E5"/>
    <a:srgbClr val="E3A1AE"/>
    <a:srgbClr val="DEDEDE"/>
    <a:srgbClr val="FFECF1"/>
    <a:srgbClr val="FFFFFF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404" autoAdjust="0"/>
  </p:normalViewPr>
  <p:slideViewPr>
    <p:cSldViewPr snapToGrid="0">
      <p:cViewPr varScale="1">
        <p:scale>
          <a:sx n="123" d="100"/>
          <a:sy n="123" d="100"/>
        </p:scale>
        <p:origin x="557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vushkinNS\Downloads\&#1054;&#1087;&#1088;&#1086;&#1089;%20&#1091;&#1076;&#1086;&#1074;&#1083;&#1077;&#1090;&#1074;&#1086;&#1088;&#1077;&#1085;&#1085;&#1086;&#1089;&#1090;&#1080;%20&#1086;&#1090;&#1095;&#1077;&#1090;&#1085;&#1086;&#1089;&#1090;&#1100;&#1102;%20Qlik%20Sense%20&#1074;%20&#1087;&#1086;&#1090;&#1086;&#1082;&#1072;&#1093;%20_&#1056;&#1052;%20&#1040;&#1085;&#1072;&#1083;&#1080;&#1090;&#1080;&#1082;&#1072;_(1-90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vushkinNS\Downloads\&#1054;&#1087;&#1088;&#1086;&#1089;%20&#1091;&#1076;&#1086;&#1074;&#1083;&#1077;&#1090;&#1074;&#1086;&#1088;&#1077;&#1085;&#1085;&#1086;&#1089;&#1090;&#1080;%20&#1086;&#1090;&#1095;&#1077;&#1090;&#1085;&#1086;&#1089;&#1090;&#1100;&#1102;%20Qlik%20Sense%20&#1074;%20&#1087;&#1086;&#1090;&#1086;&#1082;&#1072;&#1093;%20_&#1056;&#1052;%20&#1040;&#1085;&#1072;&#1083;&#1080;&#1090;&#1080;&#1082;&#1072;_(1-90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vushkinNS\Downloads\&#1054;&#1087;&#1088;&#1086;&#1089;%20&#1091;&#1076;&#1086;&#1074;&#1083;&#1077;&#1090;&#1074;&#1086;&#1088;&#1077;&#1085;&#1085;&#1086;&#1089;&#1090;&#1080;%20&#1086;&#1090;&#1095;&#1077;&#1090;&#1085;&#1086;&#1089;&#1090;&#1100;&#1102;%20Qlik%20Sense%20&#1074;%20&#1087;&#1086;&#1090;&#1086;&#1082;&#1072;&#1093;%20_&#1056;&#1052;%20&#1040;&#1085;&#1072;&#1083;&#1080;&#1090;&#1080;&#1082;&#1072;_(1-90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vushkinNS\Downloads\&#1054;&#1087;&#1088;&#1086;&#1089;%20&#1091;&#1076;&#1086;&#1074;&#1083;&#1077;&#1090;&#1074;&#1086;&#1088;&#1077;&#1085;&#1085;&#1086;&#1089;&#1090;&#1080;%20&#1086;&#1090;&#1095;&#1077;&#1090;&#1085;&#1086;&#1089;&#1090;&#1100;&#1102;%20Qlik%20Sense%20&#1074;%20&#1087;&#1086;&#1090;&#1086;&#1082;&#1072;&#1093;%20_&#1056;&#1052;%20&#1040;&#1085;&#1072;&#1083;&#1080;&#1090;&#1080;&#1082;&#1072;_(1-90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44920950180799"/>
          <c:y val="6.9859291285741004E-2"/>
          <c:w val="0.70551784182982402"/>
          <c:h val="0.860281417428518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BA3953"/>
            </a:solidFill>
          </c:spPr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B7EE-4A17-A8D4-939B605B47B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B7EE-4A17-A8D4-939B605B47B5}"/>
              </c:ext>
            </c:extLst>
          </c:dPt>
          <c:dLbls>
            <c:dLbl>
              <c:idx val="0"/>
              <c:layout>
                <c:manualLayout>
                  <c:x val="-1.3348870939051537E-2"/>
                  <c:y val="7.7283174867896643E-3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100">
                        <a:solidFill>
                          <a:schemeClr val="bg1"/>
                        </a:solidFill>
                        <a:latin typeface="Bahnschrift" panose="020B0502040204020203" pitchFamily="34" charset="0"/>
                      </a:defRPr>
                    </a:pPr>
                    <a:fld id="{1A0E63AD-3BE6-468D-8985-6233D5252082}" type="CELLRANGE">
                      <a:rPr lang="ru-RU" sz="110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defRPr>
                      </a:pPr>
                      <a:t>[ДИАПАЗОН ЯЧЕЕК]</a:t>
                    </a:fld>
                    <a:endParaRPr lang="ru-RU" sz="1100" baseline="0">
                      <a:solidFill>
                        <a:schemeClr val="bg1"/>
                      </a:solidFill>
                    </a:endParaRPr>
                  </a:p>
                  <a:p>
                    <a:pPr>
                      <a:defRPr sz="1100">
                        <a:solidFill>
                          <a:schemeClr val="bg1"/>
                        </a:solidFill>
                        <a:latin typeface="Bahnschrift" panose="020B0502040204020203" pitchFamily="34" charset="0"/>
                      </a:defRPr>
                    </a:pPr>
                    <a:fld id="{674B3222-C1C7-4DA6-A2CF-BC5FA3AD7129}" type="VALUE">
                      <a:rPr lang="ru-RU" sz="110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0088984934785373"/>
                      <c:h val="0.16840226787026924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7EE-4A17-A8D4-939B605B47B5}"/>
                </c:ext>
              </c:extLst>
            </c:dLbl>
            <c:dLbl>
              <c:idx val="1"/>
              <c:layout>
                <c:manualLayout>
                  <c:x val="6.8326053264120895E-3"/>
                  <c:y val="0.12781355094953456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00">
                        <a:latin typeface="Bahnschrift" panose="020B0502040204020203" pitchFamily="34" charset="0"/>
                      </a:defRPr>
                    </a:pPr>
                    <a:fld id="{BF54D5D8-F284-4ADE-AEF1-AE1E68F01345}" type="CELLRANGE">
                      <a:rPr lang="ru-RU" dirty="0"/>
                      <a:pPr>
                        <a:defRPr sz="1000">
                          <a:latin typeface="Bahnschrift" panose="020B0502040204020203" pitchFamily="34" charset="0"/>
                        </a:defRPr>
                      </a:pPr>
                      <a:t>[ДИАПАЗОН ЯЧЕЕК]</a:t>
                    </a:fld>
                    <a:endParaRPr lang="ru-RU" baseline="0" dirty="0"/>
                  </a:p>
                  <a:p>
                    <a:pPr>
                      <a:defRPr sz="1000">
                        <a:latin typeface="Bahnschrift" panose="020B0502040204020203" pitchFamily="34" charset="0"/>
                      </a:defRPr>
                    </a:pPr>
                    <a:fld id="{8BCC12B6-183C-456C-AB2C-F7038428FFA3}" type="VALUE">
                      <a:rPr lang="ru-RU" dirty="0"/>
                      <a:pPr>
                        <a:defRPr sz="1000">
                          <a:latin typeface="Bahnschrift" panose="020B0502040204020203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63734969389680651"/>
                      <c:h val="0.1762709524617375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B7EE-4A17-A8D4-939B605B47B5}"/>
                </c:ext>
              </c:extLst>
            </c:dLbl>
            <c:dLbl>
              <c:idx val="2"/>
              <c:layout>
                <c:manualLayout>
                  <c:x val="8.2901689693100373E-3"/>
                  <c:y val="1.7794373205659893E-7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chemeClr val="bg1"/>
                        </a:solidFill>
                        <a:latin typeface="Bahnschrift" panose="020B0502040204020203" pitchFamily="34" charset="0"/>
                      </a:defRPr>
                    </a:pPr>
                    <a:fld id="{1ACF340D-0C55-4B9E-926D-CD1DC05BE5CD}" type="CELLRANGE">
                      <a:rPr lang="ru-RU" sz="110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defRPr>
                      </a:pPr>
                      <a:t>[ДИАПАЗОН ЯЧЕЕК]</a:t>
                    </a:fld>
                    <a:endParaRPr lang="ru-RU" sz="1100" baseline="0">
                      <a:solidFill>
                        <a:schemeClr val="bg1"/>
                      </a:solidFill>
                    </a:endParaRPr>
                  </a:p>
                  <a:p>
                    <a:pPr>
                      <a:defRPr sz="1100">
                        <a:solidFill>
                          <a:schemeClr val="bg1"/>
                        </a:solidFill>
                        <a:latin typeface="Bahnschrift" panose="020B0502040204020203" pitchFamily="34" charset="0"/>
                      </a:defRPr>
                    </a:pPr>
                    <a:fld id="{195DA65A-967B-43EC-98F7-994DF4C3A8D1}" type="VALUE">
                      <a:rPr lang="ru-RU" sz="110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008335862814021"/>
                      <c:h val="0.1762710609752668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B7EE-4A17-A8D4-939B605B47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Bahnschrift" panose="020B0502040204020203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ЦА</c:v>
                </c:pt>
                <c:pt idx="1">
                  <c:v>Не указали</c:v>
                </c:pt>
                <c:pt idx="2">
                  <c:v>ФИЛИАЛ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4</c:v>
                </c:pt>
                <c:pt idx="1">
                  <c:v>3</c:v>
                </c:pt>
                <c:pt idx="2">
                  <c:v>4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2:$A$4</c15:f>
                <c15:dlblRangeCache>
                  <c:ptCount val="3"/>
                  <c:pt idx="0">
                    <c:v>ЦА</c:v>
                  </c:pt>
                  <c:pt idx="1">
                    <c:v>Не указали</c:v>
                  </c:pt>
                  <c:pt idx="2">
                    <c:v>ФИЛИАЛ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B7EE-4A17-A8D4-939B605B47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2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Опрос удовлетворенности отчетностью Qlik Sense в потоках _РМ Аналитика_(1-90).xlsx]Лист1!Сводная таблица1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H$8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hnschrift Light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G$9:$G$22</c:f>
              <c:strCache>
                <c:ptCount val="13"/>
                <c:pt idx="0">
                  <c:v>Екатеринбургский</c:v>
                </c:pt>
                <c:pt idx="1">
                  <c:v>Ростовский </c:v>
                </c:pt>
                <c:pt idx="2">
                  <c:v>Ярославский</c:v>
                </c:pt>
                <c:pt idx="3">
                  <c:v>Челябинский</c:v>
                </c:pt>
                <c:pt idx="4">
                  <c:v>Московский</c:v>
                </c:pt>
                <c:pt idx="5">
                  <c:v>Санкт-Петербургский</c:v>
                </c:pt>
                <c:pt idx="6">
                  <c:v>Нижегородский</c:v>
                </c:pt>
                <c:pt idx="7">
                  <c:v>Самарский</c:v>
                </c:pt>
                <c:pt idx="8">
                  <c:v>Саратовский</c:v>
                </c:pt>
                <c:pt idx="9">
                  <c:v>Новосибирский</c:v>
                </c:pt>
                <c:pt idx="10">
                  <c:v>Красноярский</c:v>
                </c:pt>
                <c:pt idx="11">
                  <c:v>Владивостокский</c:v>
                </c:pt>
                <c:pt idx="12">
                  <c:v>Воронежский</c:v>
                </c:pt>
              </c:strCache>
            </c:strRef>
          </c:cat>
          <c:val>
            <c:numRef>
              <c:f>Лист1!$H$9:$H$22</c:f>
              <c:numCache>
                <c:formatCode>General</c:formatCode>
                <c:ptCount val="13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99-45BB-A727-30F801FD1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14794384"/>
        <c:axId val="614795368"/>
      </c:barChart>
      <c:catAx>
        <c:axId val="614794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614795368"/>
        <c:crosses val="autoZero"/>
        <c:auto val="1"/>
        <c:lblAlgn val="r"/>
        <c:lblOffset val="100"/>
        <c:noMultiLvlLbl val="0"/>
      </c:catAx>
      <c:valAx>
        <c:axId val="6147953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14794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Bahnschrift Light" panose="020B0502040204020203" pitchFamily="34" charset="0"/>
        </a:defRPr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Опрос удовлетворенности отчетностью Qlik Sense в потоках _РМ Аналитика_(1-90).xlsx]Лист2!Сводная таблица2</c:name>
    <c:fmtId val="-1"/>
  </c:pivotSource>
  <c:chart>
    <c:autoTitleDeleted val="1"/>
    <c:pivotFmts>
      <c:pivotFmt>
        <c:idx val="0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2!$J$6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hnschrift Light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I$7:$I$17</c:f>
              <c:strCache>
                <c:ptCount val="10"/>
                <c:pt idx="0">
                  <c:v>Блок корпоративной безопасности</c:v>
                </c:pt>
                <c:pt idx="1">
                  <c:v>Блок стратегического развития</c:v>
                </c:pt>
                <c:pt idx="2">
                  <c:v>Корпоративной безопасности</c:v>
                </c:pt>
                <c:pt idx="3">
                  <c:v>Блок технического развития</c:v>
                </c:pt>
                <c:pt idx="4">
                  <c:v>Блок операционной эффективности и цифрового развития</c:v>
                </c:pt>
                <c:pt idx="5">
                  <c:v>Блок закупок</c:v>
                </c:pt>
                <c:pt idx="6">
                  <c:v>Блок логистики</c:v>
                </c:pt>
                <c:pt idx="7">
                  <c:v>Блок по оперативной работе и организации перевозок</c:v>
                </c:pt>
                <c:pt idx="8">
                  <c:v>Блок экономики и финансов</c:v>
                </c:pt>
                <c:pt idx="9">
                  <c:v>Блок коммерции</c:v>
                </c:pt>
              </c:strCache>
            </c:strRef>
          </c:cat>
          <c:val>
            <c:numRef>
              <c:f>Лист2!$J$7:$J$17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4</c:v>
                </c:pt>
                <c:pt idx="7">
                  <c:v>4</c:v>
                </c:pt>
                <c:pt idx="8">
                  <c:v>11</c:v>
                </c:pt>
                <c:pt idx="9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4F-43B2-8B1B-8167D1DA3A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14378104"/>
        <c:axId val="614370232"/>
      </c:barChart>
      <c:catAx>
        <c:axId val="614378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614370232"/>
        <c:crosses val="autoZero"/>
        <c:auto val="1"/>
        <c:lblAlgn val="ctr"/>
        <c:lblOffset val="100"/>
        <c:noMultiLvlLbl val="0"/>
      </c:catAx>
      <c:valAx>
        <c:axId val="6143702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14378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Bahnschrift Light" panose="020B0502040204020203" pitchFamily="34" charset="0"/>
        </a:defRPr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Опрос удовлетворенности отчетностью Qlik Sense в потоках _РМ Аналитика_(1-90).xlsx]Лист3!Сводная таблица7</c:name>
    <c:fmtId val="-1"/>
  </c:pivotSource>
  <c:chart>
    <c:autoTitleDeleted val="1"/>
    <c:pivotFmts>
      <c:pivotFmt>
        <c:idx val="0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Light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3!$F$6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rgbClr val="BA395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hnschrift Light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E$7:$E$11</c:f>
              <c:strCache>
                <c:ptCount val="4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</c:strCache>
            </c:strRef>
          </c:cat>
          <c:val>
            <c:numRef>
              <c:f>Лист3!$F$7:$F$11</c:f>
              <c:numCache>
                <c:formatCode>General</c:formatCode>
                <c:ptCount val="4"/>
                <c:pt idx="0">
                  <c:v>2</c:v>
                </c:pt>
                <c:pt idx="1">
                  <c:v>9</c:v>
                </c:pt>
                <c:pt idx="2">
                  <c:v>32</c:v>
                </c:pt>
                <c:pt idx="3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60-42A3-921C-E88768A64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2"/>
        <c:axId val="728353952"/>
        <c:axId val="728355592"/>
      </c:barChart>
      <c:catAx>
        <c:axId val="728353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hnschrift Light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728355592"/>
        <c:crosses val="autoZero"/>
        <c:auto val="1"/>
        <c:lblAlgn val="ctr"/>
        <c:lblOffset val="100"/>
        <c:noMultiLvlLbl val="0"/>
      </c:catAx>
      <c:valAx>
        <c:axId val="728355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8353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 b="1">
          <a:latin typeface="Bahnschrift Light" panose="020B0502040204020203" pitchFamily="34" charset="0"/>
        </a:defRPr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Опрос удовлетворенности отчетностью Qlik Sense в потоках _РМ Аналитика_(1-90).xlsx]частота!Сводная таблица8</c:name>
    <c:fmtId val="-1"/>
  </c:pivotSource>
  <c:chart>
    <c:autoTitleDeleted val="1"/>
    <c:pivotFmts>
      <c:pivotFmt>
        <c:idx val="0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SemiBold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SemiBold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rgbClr val="C0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hnschrift SemiBold" panose="020B0502040204020203" pitchFamily="34" charset="0"/>
                  <a:ea typeface="+mn-ea"/>
                  <a:cs typeface="+mn-cs"/>
                </a:defRPr>
              </a:pPr>
              <a:endParaRPr lang="ru-RU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частота!$I$7</c:f>
              <c:strCache>
                <c:ptCount val="1"/>
                <c:pt idx="0">
                  <c:v>Итог</c:v>
                </c:pt>
              </c:strCache>
            </c:strRef>
          </c:tx>
          <c:spPr>
            <a:solidFill>
              <a:srgbClr val="BA395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hnschrift SemiBold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частота!$H$8:$H$11</c:f>
              <c:strCache>
                <c:ptCount val="3"/>
                <c:pt idx="0">
                  <c:v>1 раз в месяц и реже</c:v>
                </c:pt>
                <c:pt idx="1">
                  <c:v>1-2 раза в неделю или по мере возникновения потребности</c:v>
                </c:pt>
                <c:pt idx="2">
                  <c:v>Каждый  рабочий день</c:v>
                </c:pt>
              </c:strCache>
            </c:strRef>
          </c:cat>
          <c:val>
            <c:numRef>
              <c:f>частота!$I$8:$I$11</c:f>
              <c:numCache>
                <c:formatCode>General</c:formatCode>
                <c:ptCount val="3"/>
                <c:pt idx="0">
                  <c:v>3</c:v>
                </c:pt>
                <c:pt idx="1">
                  <c:v>33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D-4EB1-8489-21EF855D82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3"/>
        <c:overlap val="-63"/>
        <c:axId val="736793976"/>
        <c:axId val="736791352"/>
      </c:barChart>
      <c:catAx>
        <c:axId val="736793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hnschrift SemiBold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736791352"/>
        <c:crosses val="autoZero"/>
        <c:auto val="1"/>
        <c:lblAlgn val="ctr"/>
        <c:lblOffset val="100"/>
        <c:noMultiLvlLbl val="0"/>
      </c:catAx>
      <c:valAx>
        <c:axId val="736791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6793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="0">
          <a:latin typeface="Bahnschrift SemiBold" panose="020B0502040204020203" pitchFamily="34" charset="0"/>
        </a:defRPr>
      </a:pPr>
      <a:endParaRPr lang="ru-RU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B8BB1-AB86-463E-A812-37FD14C842D7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470088-439E-45CD-B498-B53CAC2AF7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4489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00338" y="509588"/>
            <a:ext cx="4540250" cy="25542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FDBE74-3D56-446D-94BA-D00A48C73FC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150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67">
              <a:defRPr/>
            </a:pPr>
            <a:endParaRPr lang="en-US" b="0" i="0" strike="noStrike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23EB6-790A-4EB4-9ABC-B055D6145D0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662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23EB6-790A-4EB4-9ABC-B055D6145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356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23EB6-790A-4EB4-9ABC-B055D6145D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08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4.png"/><Relationship Id="rId5" Type="http://schemas.openxmlformats.org/officeDocument/2006/relationships/tags" Target="../tags/tag10.xml"/><Relationship Id="rId10" Type="http://schemas.openxmlformats.org/officeDocument/2006/relationships/image" Target="../media/image2.emf"/><Relationship Id="rId4" Type="http://schemas.openxmlformats.org/officeDocument/2006/relationships/tags" Target="../tags/tag9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1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5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7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9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5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0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3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11" Type="http://schemas.openxmlformats.org/officeDocument/2006/relationships/image" Target="../media/image4.png"/><Relationship Id="rId5" Type="http://schemas.openxmlformats.org/officeDocument/2006/relationships/tags" Target="../tags/tag125.xml"/><Relationship Id="rId10" Type="http://schemas.openxmlformats.org/officeDocument/2006/relationships/image" Target="../media/image2.emf"/><Relationship Id="rId4" Type="http://schemas.openxmlformats.org/officeDocument/2006/relationships/tags" Target="../tags/tag124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10" Type="http://schemas.openxmlformats.org/officeDocument/2006/relationships/image" Target="../media/image1.emf"/><Relationship Id="rId4" Type="http://schemas.openxmlformats.org/officeDocument/2006/relationships/tags" Target="../tags/tag129.xml"/><Relationship Id="rId9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1.xml"/><Relationship Id="rId11" Type="http://schemas.openxmlformats.org/officeDocument/2006/relationships/image" Target="../media/image3.emf"/><Relationship Id="rId5" Type="http://schemas.openxmlformats.org/officeDocument/2006/relationships/tags" Target="../tags/tag140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39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1.emf"/><Relationship Id="rId2" Type="http://schemas.openxmlformats.org/officeDocument/2006/relationships/tags" Target="../tags/tag14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48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4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1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5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4.xml"/><Relationship Id="rId9" Type="http://schemas.openxmlformats.org/officeDocument/2006/relationships/tags" Target="../tags/tag15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image" Target="../media/image1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4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2.xml"/><Relationship Id="rId9" Type="http://schemas.openxmlformats.org/officeDocument/2006/relationships/tags" Target="../tags/tag16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image" Target="../media/image5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2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7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1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80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oleObject" Target="../embeddings/oleObject4.bin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5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1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image" Target="../media/image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20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21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2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Relationship Id="rId9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3.emf"/><Relationship Id="rId2" Type="http://schemas.openxmlformats.org/officeDocument/2006/relationships/tags" Target="../tags/tag229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image" Target="../media/image3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4.xml"/><Relationship Id="rId9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41.vml"/><Relationship Id="rId6" Type="http://schemas.openxmlformats.org/officeDocument/2006/relationships/tags" Target="../tags/tag247.xml"/><Relationship Id="rId11" Type="http://schemas.openxmlformats.org/officeDocument/2006/relationships/image" Target="../media/image4.png"/><Relationship Id="rId5" Type="http://schemas.openxmlformats.org/officeDocument/2006/relationships/tags" Target="../tags/tag246.xml"/><Relationship Id="rId10" Type="http://schemas.openxmlformats.org/officeDocument/2006/relationships/image" Target="../media/image2.emf"/><Relationship Id="rId4" Type="http://schemas.openxmlformats.org/officeDocument/2006/relationships/tags" Target="../tags/tag245.xml"/><Relationship Id="rId9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42.vml"/><Relationship Id="rId6" Type="http://schemas.openxmlformats.org/officeDocument/2006/relationships/tags" Target="../tags/tag252.xml"/><Relationship Id="rId5" Type="http://schemas.openxmlformats.org/officeDocument/2006/relationships/tags" Target="../tags/tag251.xml"/><Relationship Id="rId10" Type="http://schemas.openxmlformats.org/officeDocument/2006/relationships/image" Target="../media/image1.emf"/><Relationship Id="rId4" Type="http://schemas.openxmlformats.org/officeDocument/2006/relationships/tags" Target="../tags/tag250.xml"/><Relationship Id="rId9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5.xml"/><Relationship Id="rId7" Type="http://schemas.openxmlformats.org/officeDocument/2006/relationships/oleObject" Target="../embeddings/oleObject43.bin"/><Relationship Id="rId2" Type="http://schemas.openxmlformats.org/officeDocument/2006/relationships/tags" Target="../tags/tag254.xml"/><Relationship Id="rId1" Type="http://schemas.openxmlformats.org/officeDocument/2006/relationships/vmlDrawing" Target="../drawings/vmlDrawing4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44.vml"/><Relationship Id="rId6" Type="http://schemas.openxmlformats.org/officeDocument/2006/relationships/tags" Target="../tags/tag262.xml"/><Relationship Id="rId11" Type="http://schemas.openxmlformats.org/officeDocument/2006/relationships/image" Target="../media/image3.emf"/><Relationship Id="rId5" Type="http://schemas.openxmlformats.org/officeDocument/2006/relationships/tags" Target="../tags/tag261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260.xml"/><Relationship Id="rId9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image" Target="../media/image1.emf"/><Relationship Id="rId2" Type="http://schemas.openxmlformats.org/officeDocument/2006/relationships/tags" Target="../tags/tag265.xml"/><Relationship Id="rId1" Type="http://schemas.openxmlformats.org/officeDocument/2006/relationships/vmlDrawing" Target="../drawings/vmlDrawing45.vml"/><Relationship Id="rId6" Type="http://schemas.openxmlformats.org/officeDocument/2006/relationships/tags" Target="../tags/tag269.xml"/><Relationship Id="rId11" Type="http://schemas.openxmlformats.org/officeDocument/2006/relationships/oleObject" Target="../embeddings/oleObject45.bin"/><Relationship Id="rId5" Type="http://schemas.openxmlformats.org/officeDocument/2006/relationships/tags" Target="../tags/tag26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image" Target="../media/image1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46.vml"/><Relationship Id="rId6" Type="http://schemas.openxmlformats.org/officeDocument/2006/relationships/tags" Target="../tags/tag277.xml"/><Relationship Id="rId11" Type="http://schemas.openxmlformats.org/officeDocument/2006/relationships/oleObject" Target="../embeddings/oleObject46.bin"/><Relationship Id="rId5" Type="http://schemas.openxmlformats.org/officeDocument/2006/relationships/tags" Target="../tags/tag27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75.xml"/><Relationship Id="rId9" Type="http://schemas.openxmlformats.org/officeDocument/2006/relationships/tags" Target="../tags/tag280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image" Target="../media/image1.emf"/><Relationship Id="rId2" Type="http://schemas.openxmlformats.org/officeDocument/2006/relationships/tags" Target="../tags/tag281.xml"/><Relationship Id="rId1" Type="http://schemas.openxmlformats.org/officeDocument/2006/relationships/vmlDrawing" Target="../drawings/vmlDrawing47.vml"/><Relationship Id="rId6" Type="http://schemas.openxmlformats.org/officeDocument/2006/relationships/tags" Target="../tags/tag285.xml"/><Relationship Id="rId11" Type="http://schemas.openxmlformats.org/officeDocument/2006/relationships/oleObject" Target="../embeddings/oleObject47.bin"/><Relationship Id="rId5" Type="http://schemas.openxmlformats.org/officeDocument/2006/relationships/tags" Target="../tags/tag28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83.xml"/><Relationship Id="rId9" Type="http://schemas.openxmlformats.org/officeDocument/2006/relationships/tags" Target="../tags/tag288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image" Target="../media/image5.emf"/><Relationship Id="rId2" Type="http://schemas.openxmlformats.org/officeDocument/2006/relationships/tags" Target="../tags/tag289.xml"/><Relationship Id="rId1" Type="http://schemas.openxmlformats.org/officeDocument/2006/relationships/vmlDrawing" Target="../drawings/vmlDrawing48.vml"/><Relationship Id="rId6" Type="http://schemas.openxmlformats.org/officeDocument/2006/relationships/tags" Target="../tags/tag293.xml"/><Relationship Id="rId11" Type="http://schemas.openxmlformats.org/officeDocument/2006/relationships/oleObject" Target="../embeddings/oleObject48.bin"/><Relationship Id="rId5" Type="http://schemas.openxmlformats.org/officeDocument/2006/relationships/tags" Target="../tags/tag29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91.xml"/><Relationship Id="rId9" Type="http://schemas.openxmlformats.org/officeDocument/2006/relationships/tags" Target="../tags/tag296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1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01.xml"/><Relationship Id="rId11" Type="http://schemas.openxmlformats.org/officeDocument/2006/relationships/oleObject" Target="../embeddings/oleObject49.bin"/><Relationship Id="rId5" Type="http://schemas.openxmlformats.org/officeDocument/2006/relationships/tags" Target="../tags/tag300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99.xml"/><Relationship Id="rId9" Type="http://schemas.openxmlformats.org/officeDocument/2006/relationships/tags" Target="../tags/tag30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image" Target="../media/image1.emf"/><Relationship Id="rId2" Type="http://schemas.openxmlformats.org/officeDocument/2006/relationships/tags" Target="../tags/tag305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09.xml"/><Relationship Id="rId11" Type="http://schemas.openxmlformats.org/officeDocument/2006/relationships/oleObject" Target="../embeddings/oleObject50.bin"/><Relationship Id="rId5" Type="http://schemas.openxmlformats.org/officeDocument/2006/relationships/tags" Target="../tags/tag30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307.xml"/><Relationship Id="rId9" Type="http://schemas.openxmlformats.org/officeDocument/2006/relationships/tags" Target="../tags/tag31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image" Target="../media/image1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51.vml"/><Relationship Id="rId6" Type="http://schemas.openxmlformats.org/officeDocument/2006/relationships/tags" Target="../tags/tag317.xml"/><Relationship Id="rId11" Type="http://schemas.openxmlformats.org/officeDocument/2006/relationships/oleObject" Target="../embeddings/oleObject51.bin"/><Relationship Id="rId5" Type="http://schemas.openxmlformats.org/officeDocument/2006/relationships/tags" Target="../tags/tag31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315.xml"/><Relationship Id="rId9" Type="http://schemas.openxmlformats.org/officeDocument/2006/relationships/tags" Target="../tags/tag320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3" Type="http://schemas.openxmlformats.org/officeDocument/2006/relationships/tags" Target="../tags/tag322.xml"/><Relationship Id="rId7" Type="http://schemas.openxmlformats.org/officeDocument/2006/relationships/tags" Target="../tags/tag326.xml"/><Relationship Id="rId12" Type="http://schemas.openxmlformats.org/officeDocument/2006/relationships/image" Target="../media/image1.emf"/><Relationship Id="rId2" Type="http://schemas.openxmlformats.org/officeDocument/2006/relationships/tags" Target="../tags/tag321.xml"/><Relationship Id="rId1" Type="http://schemas.openxmlformats.org/officeDocument/2006/relationships/vmlDrawing" Target="../drawings/vmlDrawing52.vml"/><Relationship Id="rId6" Type="http://schemas.openxmlformats.org/officeDocument/2006/relationships/tags" Target="../tags/tag325.xml"/><Relationship Id="rId11" Type="http://schemas.openxmlformats.org/officeDocument/2006/relationships/oleObject" Target="../embeddings/oleObject52.bin"/><Relationship Id="rId5" Type="http://schemas.openxmlformats.org/officeDocument/2006/relationships/tags" Target="../tags/tag32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323.xml"/><Relationship Id="rId9" Type="http://schemas.openxmlformats.org/officeDocument/2006/relationships/tags" Target="../tags/tag32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7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7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5.emf"/><Relationship Id="rId2" Type="http://schemas.openxmlformats.org/officeDocument/2006/relationships/tags" Target="../tags/tag329.xml"/><Relationship Id="rId1" Type="http://schemas.openxmlformats.org/officeDocument/2006/relationships/vmlDrawing" Target="../drawings/vmlDrawing53.vml"/><Relationship Id="rId6" Type="http://schemas.openxmlformats.org/officeDocument/2006/relationships/tags" Target="../tags/tag333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33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image" Target="../media/image1.emf"/><Relationship Id="rId2" Type="http://schemas.openxmlformats.org/officeDocument/2006/relationships/tags" Target="../tags/tag337.xml"/><Relationship Id="rId1" Type="http://schemas.openxmlformats.org/officeDocument/2006/relationships/vmlDrawing" Target="../drawings/vmlDrawing54.vml"/><Relationship Id="rId6" Type="http://schemas.openxmlformats.org/officeDocument/2006/relationships/tags" Target="../tags/tag341.xml"/><Relationship Id="rId11" Type="http://schemas.openxmlformats.org/officeDocument/2006/relationships/oleObject" Target="../embeddings/oleObject54.bin"/><Relationship Id="rId5" Type="http://schemas.openxmlformats.org/officeDocument/2006/relationships/tags" Target="../tags/tag340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339.xml"/><Relationship Id="rId9" Type="http://schemas.openxmlformats.org/officeDocument/2006/relationships/tags" Target="../tags/tag344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346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55.vml"/><Relationship Id="rId6" Type="http://schemas.openxmlformats.org/officeDocument/2006/relationships/tags" Target="../tags/tag349.xml"/><Relationship Id="rId5" Type="http://schemas.openxmlformats.org/officeDocument/2006/relationships/tags" Target="../tags/tag348.xml"/><Relationship Id="rId4" Type="http://schemas.openxmlformats.org/officeDocument/2006/relationships/tags" Target="../tags/tag347.xml"/><Relationship Id="rId9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3.emf"/><Relationship Id="rId2" Type="http://schemas.openxmlformats.org/officeDocument/2006/relationships/tags" Target="../tags/tag350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5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5.emf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9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01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Background">
            <a:extLst>
              <a:ext uri="{FF2B5EF4-FFF2-40B4-BE49-F238E27FC236}">
                <a16:creationId xmlns:a16="http://schemas.microsoft.com/office/drawing/2014/main" id="{B5C0A637-E2ED-45BD-B5B9-77EE682028BB}"/>
              </a:ext>
            </a:extLst>
          </p:cNvPr>
          <p:cNvSpPr/>
          <p:nvPr userDrawn="1"/>
        </p:nvSpPr>
        <p:spPr>
          <a:xfrm>
            <a:off x="0" y="1587"/>
            <a:ext cx="12189176" cy="685641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20877" y="4413234"/>
            <a:ext cx="518904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20877" y="2188115"/>
            <a:ext cx="5189043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40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FC251523-CC19-415C-84A0-8B1E3931C6BC}"/>
              </a:ext>
            </a:extLst>
          </p:cNvPr>
          <p:cNvSpPr/>
          <p:nvPr userDrawn="1"/>
        </p:nvSpPr>
        <p:spPr>
          <a:xfrm rot="5400000">
            <a:off x="886525" y="4925766"/>
            <a:ext cx="307777" cy="20744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  <a:effectLst>
            <a:innerShdw blurRad="38100" dist="25400" dir="16200000">
              <a:prstClr val="black">
                <a:alpha val="8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7CF05C-8F6C-43A5-900E-08C619B5B77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lum bright="100000"/>
          </a:blip>
          <a:stretch>
            <a:fillRect/>
          </a:stretch>
        </p:blipFill>
        <p:spPr>
          <a:xfrm>
            <a:off x="522018" y="652386"/>
            <a:ext cx="1555635" cy="8450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3584EF-A16E-4A7C-94AB-B1F48DB6E27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 l="25324" r="14322"/>
          <a:stretch>
            <a:fillRect/>
          </a:stretch>
        </p:blipFill>
        <p:spPr>
          <a:xfrm>
            <a:off x="5977191" y="0"/>
            <a:ext cx="6214808" cy="6858000"/>
          </a:xfrm>
          <a:custGeom>
            <a:avLst/>
            <a:gdLst>
              <a:gd name="connsiteX0" fmla="*/ 850778 w 6214808"/>
              <a:gd name="connsiteY0" fmla="*/ 0 h 6858000"/>
              <a:gd name="connsiteX1" fmla="*/ 6214808 w 6214808"/>
              <a:gd name="connsiteY1" fmla="*/ 0 h 6858000"/>
              <a:gd name="connsiteX2" fmla="*/ 6214808 w 6214808"/>
              <a:gd name="connsiteY2" fmla="*/ 6858000 h 6858000"/>
              <a:gd name="connsiteX3" fmla="*/ 2093041 w 6214808"/>
              <a:gd name="connsiteY3" fmla="*/ 6858000 h 6858000"/>
              <a:gd name="connsiteX4" fmla="*/ 2008672 w 6214808"/>
              <a:gd name="connsiteY4" fmla="*/ 6798004 h 6858000"/>
              <a:gd name="connsiteX5" fmla="*/ 0 w 6214808"/>
              <a:gd name="connsiteY5" fmla="*/ 2790826 h 6858000"/>
              <a:gd name="connsiteX6" fmla="*/ 723958 w 6214808"/>
              <a:gd name="connsiteY6" fmla="*/ 1978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14808" h="6858000">
                <a:moveTo>
                  <a:pt x="850778" y="0"/>
                </a:moveTo>
                <a:lnTo>
                  <a:pt x="6214808" y="0"/>
                </a:lnTo>
                <a:lnTo>
                  <a:pt x="6214808" y="6858000"/>
                </a:lnTo>
                <a:lnTo>
                  <a:pt x="2093041" y="6858000"/>
                </a:lnTo>
                <a:lnTo>
                  <a:pt x="2008672" y="6798004"/>
                </a:lnTo>
                <a:cubicBezTo>
                  <a:pt x="789285" y="5886080"/>
                  <a:pt x="0" y="4430627"/>
                  <a:pt x="0" y="2790826"/>
                </a:cubicBezTo>
                <a:cubicBezTo>
                  <a:pt x="0" y="1841468"/>
                  <a:pt x="264553" y="953899"/>
                  <a:pt x="723958" y="197820"/>
                </a:cubicBezTo>
                <a:close/>
              </a:path>
            </a:pathLst>
          </a:custGeom>
          <a:effectLst>
            <a:innerShdw blurRad="63500" dist="50800" dir="10800000">
              <a:prstClr val="black">
                <a:alpha val="50000"/>
              </a:prstClr>
            </a:inn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6D96EEA-1D2D-4226-A12D-FE945E864EB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20877" y="5855283"/>
            <a:ext cx="505963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dirty="0">
                <a:solidFill>
                  <a:srgbClr val="9A0E3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rgbClr val="000000"/>
              </a:buClr>
            </a:pP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91840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17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9A0E3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26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41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62409B-C05A-48C2-8CC4-9DF0A216A81E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1436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65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1E9756-D8BC-496B-B422-4BF4D3480224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92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089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65A596-5586-4B50-AE46-291D0BF14D29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469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113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A03A91-E41B-472C-A65A-A7B288115153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5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137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6" name="4. Footnote" hidden="1">
            <a:extLst>
              <a:ext uri="{FF2B5EF4-FFF2-40B4-BE49-F238E27FC236}">
                <a16:creationId xmlns:a16="http://schemas.microsoft.com/office/drawing/2014/main" id="{7C25CC01-4EAE-4262-8730-8E95A2982CF9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C3F96D2-A16F-49CC-A65A-8036D14C4AB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3678679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61" name="Слайд think-cell" r:id="rId6" imgW="592" imgH="591" progId="TCLayout.ActiveDocument.1">
                  <p:embed/>
                </p:oleObj>
              </mc:Choice>
              <mc:Fallback>
                <p:oleObj name="Слайд think-cell" r:id="rId6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END</a:t>
            </a:r>
          </a:p>
        </p:txBody>
      </p:sp>
      <p:sp>
        <p:nvSpPr>
          <p:cNvPr id="5" name="4. Footnote" hidden="1">
            <a:extLst>
              <a:ext uri="{FF2B5EF4-FFF2-40B4-BE49-F238E27FC236}">
                <a16:creationId xmlns:a16="http://schemas.microsoft.com/office/drawing/2014/main" id="{59A60F0F-7511-49F0-BBCF-2DE6FB5D50A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724864CF-8CD7-4C9B-9FD5-09CDA7EDF9DB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5" y="6514142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1083066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7AE7B-6002-477E-B239-9EC0EE5F4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3AABD-C22F-4949-B817-0A43562122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10468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73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573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000" b="1" i="0" baseline="0" dirty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Background">
            <a:extLst>
              <a:ext uri="{FF2B5EF4-FFF2-40B4-BE49-F238E27FC236}">
                <a16:creationId xmlns:a16="http://schemas.microsoft.com/office/drawing/2014/main" id="{B5C0A637-E2ED-45BD-B5B9-77EE682028BB}"/>
              </a:ext>
            </a:extLst>
          </p:cNvPr>
          <p:cNvSpPr/>
          <p:nvPr userDrawn="1"/>
        </p:nvSpPr>
        <p:spPr>
          <a:xfrm>
            <a:off x="0" y="1587"/>
            <a:ext cx="12189176" cy="685641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20877" y="4413234"/>
            <a:ext cx="518904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20877" y="2188115"/>
            <a:ext cx="5189043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40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FC251523-CC19-415C-84A0-8B1E3931C6BC}"/>
              </a:ext>
            </a:extLst>
          </p:cNvPr>
          <p:cNvSpPr/>
          <p:nvPr userDrawn="1"/>
        </p:nvSpPr>
        <p:spPr>
          <a:xfrm rot="5400000">
            <a:off x="886525" y="4925766"/>
            <a:ext cx="307777" cy="20744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  <a:effectLst>
            <a:innerShdw blurRad="38100" dist="25400" dir="16200000">
              <a:prstClr val="black">
                <a:alpha val="8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7CF05C-8F6C-43A5-900E-08C619B5B77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lum bright="100000"/>
          </a:blip>
          <a:stretch>
            <a:fillRect/>
          </a:stretch>
        </p:blipFill>
        <p:spPr>
          <a:xfrm>
            <a:off x="522018" y="652386"/>
            <a:ext cx="1555635" cy="8450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3584EF-A16E-4A7C-94AB-B1F48DB6E27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 l="25324" r="14322"/>
          <a:stretch>
            <a:fillRect/>
          </a:stretch>
        </p:blipFill>
        <p:spPr>
          <a:xfrm>
            <a:off x="5977191" y="0"/>
            <a:ext cx="6214808" cy="6858000"/>
          </a:xfrm>
          <a:custGeom>
            <a:avLst/>
            <a:gdLst>
              <a:gd name="connsiteX0" fmla="*/ 850778 w 6214808"/>
              <a:gd name="connsiteY0" fmla="*/ 0 h 6858000"/>
              <a:gd name="connsiteX1" fmla="*/ 6214808 w 6214808"/>
              <a:gd name="connsiteY1" fmla="*/ 0 h 6858000"/>
              <a:gd name="connsiteX2" fmla="*/ 6214808 w 6214808"/>
              <a:gd name="connsiteY2" fmla="*/ 6858000 h 6858000"/>
              <a:gd name="connsiteX3" fmla="*/ 2093041 w 6214808"/>
              <a:gd name="connsiteY3" fmla="*/ 6858000 h 6858000"/>
              <a:gd name="connsiteX4" fmla="*/ 2008672 w 6214808"/>
              <a:gd name="connsiteY4" fmla="*/ 6798004 h 6858000"/>
              <a:gd name="connsiteX5" fmla="*/ 0 w 6214808"/>
              <a:gd name="connsiteY5" fmla="*/ 2790826 h 6858000"/>
              <a:gd name="connsiteX6" fmla="*/ 723958 w 6214808"/>
              <a:gd name="connsiteY6" fmla="*/ 1978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14808" h="6858000">
                <a:moveTo>
                  <a:pt x="850778" y="0"/>
                </a:moveTo>
                <a:lnTo>
                  <a:pt x="6214808" y="0"/>
                </a:lnTo>
                <a:lnTo>
                  <a:pt x="6214808" y="6858000"/>
                </a:lnTo>
                <a:lnTo>
                  <a:pt x="2093041" y="6858000"/>
                </a:lnTo>
                <a:lnTo>
                  <a:pt x="2008672" y="6798004"/>
                </a:lnTo>
                <a:cubicBezTo>
                  <a:pt x="789285" y="5886080"/>
                  <a:pt x="0" y="4430627"/>
                  <a:pt x="0" y="2790826"/>
                </a:cubicBezTo>
                <a:cubicBezTo>
                  <a:pt x="0" y="1841468"/>
                  <a:pt x="264553" y="953899"/>
                  <a:pt x="723958" y="197820"/>
                </a:cubicBezTo>
                <a:close/>
              </a:path>
            </a:pathLst>
          </a:custGeom>
          <a:effectLst>
            <a:innerShdw blurRad="63500" dist="50800" dir="10800000">
              <a:prstClr val="black">
                <a:alpha val="50000"/>
              </a:prstClr>
            </a:inn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6D96EEA-1D2D-4226-A12D-FE945E864EB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20877" y="5855283"/>
            <a:ext cx="505963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dirty="0">
                <a:solidFill>
                  <a:srgbClr val="9A0E3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rgbClr val="000000"/>
              </a:buClr>
            </a:pP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6357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25" name="Слайд think-cell" r:id="rId9" imgW="413" imgH="416" progId="TCLayout.ActiveDocument.1">
                  <p:embed/>
                </p:oleObj>
              </mc:Choice>
              <mc:Fallback>
                <p:oleObj name="Слайд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9989801" cy="677108"/>
          </a:xfrm>
        </p:spPr>
        <p:txBody>
          <a:bodyPr vert="horz" wrap="square" lIns="0" tIns="0" rIns="648000" bIns="0" rtlCol="0" anchor="b" anchorCtr="0">
            <a:noAutofit/>
          </a:bodyPr>
          <a:lstStyle>
            <a:lvl1pPr>
              <a:defRPr lang="ru-RU" sz="220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58596"/>
            <a:ext cx="9989801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08426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597" name="Слайд think-cell" r:id="rId9" imgW="413" imgH="416" progId="TCLayout.ActiveDocument.1">
                  <p:embed/>
                </p:oleObj>
              </mc:Choice>
              <mc:Fallback>
                <p:oleObj name="Слайд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9989801" cy="677108"/>
          </a:xfrm>
        </p:spPr>
        <p:txBody>
          <a:bodyPr vert="horz" wrap="square" lIns="0" tIns="0" rIns="648000" bIns="0" rtlCol="0" anchor="b" anchorCtr="0">
            <a:noAutofit/>
          </a:bodyPr>
          <a:lstStyle>
            <a:lvl1pPr>
              <a:defRPr lang="ru-RU" sz="220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58596"/>
            <a:ext cx="9989801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7913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621" name="Слайд think-cell" r:id="rId7" imgW="592" imgH="591" progId="TCLayout.ActiveDocument.1">
                  <p:embed/>
                </p:oleObj>
              </mc:Choice>
              <mc:Fallback>
                <p:oleObj name="Слайд think-cell" r:id="rId7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ckground">
            <a:extLst>
              <a:ext uri="{FF2B5EF4-FFF2-40B4-BE49-F238E27FC236}">
                <a16:creationId xmlns:a16="http://schemas.microsoft.com/office/drawing/2014/main" id="{F1E6CF01-D068-42DD-B1D0-7434D622A210}"/>
              </a:ext>
            </a:extLst>
          </p:cNvPr>
          <p:cNvSpPr/>
          <p:nvPr userDrawn="1"/>
        </p:nvSpPr>
        <p:spPr bwMode="ltGray">
          <a:xfrm>
            <a:off x="0" y="-1"/>
            <a:ext cx="12189884" cy="685892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554734" y="565178"/>
            <a:ext cx="11082528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648000" bIns="0" rtlCol="0" anchor="b" anchorCtr="0">
            <a:spAutoFit/>
          </a:bodyPr>
          <a:lstStyle>
            <a:lvl1pPr>
              <a:defRPr lang="ru-RU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9DE649-A6F3-4274-8108-F253E5C7705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-100000"/>
            <a:alphaModFix amt="10000"/>
          </a:blip>
          <a:stretch>
            <a:fillRect/>
          </a:stretch>
        </p:blipFill>
        <p:spPr>
          <a:xfrm>
            <a:off x="7839697" y="4493812"/>
            <a:ext cx="4352303" cy="236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283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645" name="Слайд think-cell" r:id="rId10" imgW="592" imgH="591" progId="TCLayout.ActiveDocument.1">
                  <p:embed/>
                </p:oleObj>
              </mc:Choice>
              <mc:Fallback>
                <p:oleObj name="Слайд think-cell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740895"/>
            <a:ext cx="10131552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en-US" dirty="0"/>
              <a:t>”</a:t>
            </a:r>
            <a:endParaRPr lang="ru-RU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130249"/>
            <a:ext cx="1013155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ru-RU" dirty="0"/>
              <a:t> </a:t>
            </a:r>
            <a:r>
              <a:rPr lang="ru-RU" dirty="0" err="1"/>
              <a:t>sourc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AA02EE99-53A8-4C7C-8962-0D63EC734C6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15E207E-5E76-49DE-8198-0BF5F72E95D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27925885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669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41F7C9-3BEE-4E80-B05C-60A793EA15B2}"/>
              </a:ext>
            </a:extLst>
          </p:cNvPr>
          <p:cNvSpPr>
            <a:spLocks/>
          </p:cNvSpPr>
          <p:nvPr userDrawn="1"/>
        </p:nvSpPr>
        <p:spPr>
          <a:xfrm>
            <a:off x="4886042" y="2416099"/>
            <a:ext cx="2310229" cy="2807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0461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693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FEE3A5-A3A7-4297-A8C7-B5862B97BF27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4545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717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CD0DEC-EEEF-47EF-9A8E-4A94BB12102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33511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41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F7D7A-9753-4863-B745-F9D2AC79964C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305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65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noProof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noProof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B4F540-A11E-4765-A1FF-77BFDB64B366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2484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789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9A0E3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26076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813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62409B-C05A-48C2-8CC4-9DF0A216A81E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983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49" name="Слайд think-cell" r:id="rId7" imgW="592" imgH="591" progId="TCLayout.ActiveDocument.1">
                  <p:embed/>
                </p:oleObj>
              </mc:Choice>
              <mc:Fallback>
                <p:oleObj name="Слайд think-cell" r:id="rId7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ckground">
            <a:extLst>
              <a:ext uri="{FF2B5EF4-FFF2-40B4-BE49-F238E27FC236}">
                <a16:creationId xmlns:a16="http://schemas.microsoft.com/office/drawing/2014/main" id="{F1E6CF01-D068-42DD-B1D0-7434D622A210}"/>
              </a:ext>
            </a:extLst>
          </p:cNvPr>
          <p:cNvSpPr/>
          <p:nvPr userDrawn="1"/>
        </p:nvSpPr>
        <p:spPr bwMode="ltGray">
          <a:xfrm>
            <a:off x="0" y="-1"/>
            <a:ext cx="12189884" cy="685892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554734" y="565178"/>
            <a:ext cx="11082528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648000" bIns="0" rtlCol="0" anchor="b" anchorCtr="0">
            <a:spAutoFit/>
          </a:bodyPr>
          <a:lstStyle>
            <a:lvl1pPr>
              <a:defRPr lang="ru-RU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9DE649-A6F3-4274-8108-F253E5C7705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-100000"/>
            <a:alphaModFix amt="10000"/>
          </a:blip>
          <a:stretch>
            <a:fillRect/>
          </a:stretch>
        </p:blipFill>
        <p:spPr>
          <a:xfrm>
            <a:off x="7839697" y="4493812"/>
            <a:ext cx="4352303" cy="236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8622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837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1E9756-D8BC-496B-B422-4BF4D3480224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8890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861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65A596-5586-4B50-AE46-291D0BF14D29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8050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885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noProof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noProof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A03A91-E41B-472C-A65A-A7B288115153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6521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909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6" name="4. Footnote" hidden="1">
            <a:extLst>
              <a:ext uri="{FF2B5EF4-FFF2-40B4-BE49-F238E27FC236}">
                <a16:creationId xmlns:a16="http://schemas.microsoft.com/office/drawing/2014/main" id="{7C25CC01-4EAE-4262-8730-8E95A2982CF9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C3F96D2-A16F-49CC-A65A-8036D14C4AB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28671089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933" name="Слайд think-cell" r:id="rId6" imgW="592" imgH="591" progId="TCLayout.ActiveDocument.1">
                  <p:embed/>
                </p:oleObj>
              </mc:Choice>
              <mc:Fallback>
                <p:oleObj name="Слайд think-cell" r:id="rId6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3800" dirty="0">
                <a:latin typeface="+mn-lt"/>
                <a:ea typeface="+mn-ea"/>
                <a:cs typeface="+mn-cs"/>
              </a:rPr>
              <a:t>END</a:t>
            </a:r>
          </a:p>
        </p:txBody>
      </p:sp>
      <p:sp>
        <p:nvSpPr>
          <p:cNvPr id="5" name="4. Footnote" hidden="1">
            <a:extLst>
              <a:ext uri="{FF2B5EF4-FFF2-40B4-BE49-F238E27FC236}">
                <a16:creationId xmlns:a16="http://schemas.microsoft.com/office/drawing/2014/main" id="{59A60F0F-7511-49F0-BBCF-2DE6FB5D50A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724864CF-8CD7-4C9B-9FD5-09CDA7EDF9DB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5" y="6514142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24238729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7AE7B-6002-477E-B239-9EC0EE5F4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3AABD-C22F-4949-B817-0A43562122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91487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99903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7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82758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F9FB2-F12B-454A-BE70-50CF973BED38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4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4371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811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73" name="Слайд think-cell" r:id="rId10" imgW="592" imgH="591" progId="TCLayout.ActiveDocument.1">
                  <p:embed/>
                </p:oleObj>
              </mc:Choice>
              <mc:Fallback>
                <p:oleObj name="Слайд think-cell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740895"/>
            <a:ext cx="10131552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en-US" dirty="0"/>
              <a:t>”</a:t>
            </a:r>
            <a:endParaRPr lang="ru-RU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130249"/>
            <a:ext cx="1013155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ru-RU" dirty="0"/>
              <a:t> </a:t>
            </a:r>
            <a:r>
              <a:rPr lang="ru-RU" dirty="0" err="1"/>
              <a:t>sourc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AA02EE99-53A8-4C7C-8962-0D63EC734C6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15E207E-5E76-49DE-8198-0BF5F72E95D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22376496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169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751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05667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81256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1986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42594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32375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81835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998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000" b="1" i="0" baseline="0" dirty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Background">
            <a:extLst>
              <a:ext uri="{FF2B5EF4-FFF2-40B4-BE49-F238E27FC236}">
                <a16:creationId xmlns:a16="http://schemas.microsoft.com/office/drawing/2014/main" id="{B5C0A637-E2ED-45BD-B5B9-77EE682028BB}"/>
              </a:ext>
            </a:extLst>
          </p:cNvPr>
          <p:cNvSpPr/>
          <p:nvPr userDrawn="1"/>
        </p:nvSpPr>
        <p:spPr>
          <a:xfrm>
            <a:off x="0" y="1587"/>
            <a:ext cx="12189176" cy="685641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20877" y="4413234"/>
            <a:ext cx="518904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20877" y="2188115"/>
            <a:ext cx="5189043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40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FC251523-CC19-415C-84A0-8B1E3931C6BC}"/>
              </a:ext>
            </a:extLst>
          </p:cNvPr>
          <p:cNvSpPr/>
          <p:nvPr userDrawn="1"/>
        </p:nvSpPr>
        <p:spPr>
          <a:xfrm rot="5400000">
            <a:off x="886525" y="4925766"/>
            <a:ext cx="307777" cy="20744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  <a:effectLst>
            <a:innerShdw blurRad="38100" dist="25400" dir="16200000">
              <a:prstClr val="black">
                <a:alpha val="8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7CF05C-8F6C-43A5-900E-08C619B5B77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lum bright="100000"/>
          </a:blip>
          <a:stretch>
            <a:fillRect/>
          </a:stretch>
        </p:blipFill>
        <p:spPr>
          <a:xfrm>
            <a:off x="522018" y="652386"/>
            <a:ext cx="1555635" cy="8450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3584EF-A16E-4A7C-94AB-B1F48DB6E27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 l="25324" r="14322"/>
          <a:stretch>
            <a:fillRect/>
          </a:stretch>
        </p:blipFill>
        <p:spPr>
          <a:xfrm>
            <a:off x="5977191" y="0"/>
            <a:ext cx="6214808" cy="6858000"/>
          </a:xfrm>
          <a:custGeom>
            <a:avLst/>
            <a:gdLst>
              <a:gd name="connsiteX0" fmla="*/ 850778 w 6214808"/>
              <a:gd name="connsiteY0" fmla="*/ 0 h 6858000"/>
              <a:gd name="connsiteX1" fmla="*/ 6214808 w 6214808"/>
              <a:gd name="connsiteY1" fmla="*/ 0 h 6858000"/>
              <a:gd name="connsiteX2" fmla="*/ 6214808 w 6214808"/>
              <a:gd name="connsiteY2" fmla="*/ 6858000 h 6858000"/>
              <a:gd name="connsiteX3" fmla="*/ 2093041 w 6214808"/>
              <a:gd name="connsiteY3" fmla="*/ 6858000 h 6858000"/>
              <a:gd name="connsiteX4" fmla="*/ 2008672 w 6214808"/>
              <a:gd name="connsiteY4" fmla="*/ 6798004 h 6858000"/>
              <a:gd name="connsiteX5" fmla="*/ 0 w 6214808"/>
              <a:gd name="connsiteY5" fmla="*/ 2790826 h 6858000"/>
              <a:gd name="connsiteX6" fmla="*/ 723958 w 6214808"/>
              <a:gd name="connsiteY6" fmla="*/ 1978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14808" h="6858000">
                <a:moveTo>
                  <a:pt x="850778" y="0"/>
                </a:moveTo>
                <a:lnTo>
                  <a:pt x="6214808" y="0"/>
                </a:lnTo>
                <a:lnTo>
                  <a:pt x="6214808" y="6858000"/>
                </a:lnTo>
                <a:lnTo>
                  <a:pt x="2093041" y="6858000"/>
                </a:lnTo>
                <a:lnTo>
                  <a:pt x="2008672" y="6798004"/>
                </a:lnTo>
                <a:cubicBezTo>
                  <a:pt x="789285" y="5886080"/>
                  <a:pt x="0" y="4430627"/>
                  <a:pt x="0" y="2790826"/>
                </a:cubicBezTo>
                <a:cubicBezTo>
                  <a:pt x="0" y="1841468"/>
                  <a:pt x="264553" y="953899"/>
                  <a:pt x="723958" y="197820"/>
                </a:cubicBezTo>
                <a:close/>
              </a:path>
            </a:pathLst>
          </a:custGeom>
          <a:effectLst>
            <a:innerShdw blurRad="63500" dist="50800" dir="10800000">
              <a:prstClr val="black">
                <a:alpha val="50000"/>
              </a:prstClr>
            </a:inn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6D96EEA-1D2D-4226-A12D-FE945E864EB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20877" y="5855283"/>
            <a:ext cx="505963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dirty="0">
                <a:solidFill>
                  <a:srgbClr val="9A0E3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rgbClr val="000000"/>
              </a:buClr>
            </a:pP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5345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022" name="Слайд think-cell" r:id="rId9" imgW="413" imgH="416" progId="TCLayout.ActiveDocument.1">
                  <p:embed/>
                </p:oleObj>
              </mc:Choice>
              <mc:Fallback>
                <p:oleObj name="Слайд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9989801" cy="677108"/>
          </a:xfrm>
        </p:spPr>
        <p:txBody>
          <a:bodyPr vert="horz" wrap="square" lIns="0" tIns="0" rIns="648000" bIns="0" rtlCol="0" anchor="b" anchorCtr="0">
            <a:noAutofit/>
          </a:bodyPr>
          <a:lstStyle>
            <a:lvl1pPr>
              <a:defRPr lang="ru-RU" sz="220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958596"/>
            <a:ext cx="9989801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301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97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41F7C9-3BEE-4E80-B05C-60A793EA15B2}"/>
              </a:ext>
            </a:extLst>
          </p:cNvPr>
          <p:cNvSpPr>
            <a:spLocks/>
          </p:cNvSpPr>
          <p:nvPr userDrawn="1"/>
        </p:nvSpPr>
        <p:spPr>
          <a:xfrm>
            <a:off x="4886042" y="2416099"/>
            <a:ext cx="2310229" cy="2807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7716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046" name="Слайд think-cell" r:id="rId7" imgW="592" imgH="591" progId="TCLayout.ActiveDocument.1">
                  <p:embed/>
                </p:oleObj>
              </mc:Choice>
              <mc:Fallback>
                <p:oleObj name="Слайд think-cell" r:id="rId7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ckground">
            <a:extLst>
              <a:ext uri="{FF2B5EF4-FFF2-40B4-BE49-F238E27FC236}">
                <a16:creationId xmlns:a16="http://schemas.microsoft.com/office/drawing/2014/main" id="{F1E6CF01-D068-42DD-B1D0-7434D622A210}"/>
              </a:ext>
            </a:extLst>
          </p:cNvPr>
          <p:cNvSpPr/>
          <p:nvPr userDrawn="1"/>
        </p:nvSpPr>
        <p:spPr bwMode="ltGray">
          <a:xfrm>
            <a:off x="0" y="-1"/>
            <a:ext cx="12189884" cy="685892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554734" y="565178"/>
            <a:ext cx="11082528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648000" bIns="0" rtlCol="0" anchor="b" anchorCtr="0">
            <a:spAutoFit/>
          </a:bodyPr>
          <a:lstStyle>
            <a:lvl1pPr>
              <a:defRPr lang="ru-RU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9DE649-A6F3-4274-8108-F253E5C7705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-100000"/>
            <a:alphaModFix amt="10000"/>
          </a:blip>
          <a:stretch>
            <a:fillRect/>
          </a:stretch>
        </p:blipFill>
        <p:spPr>
          <a:xfrm>
            <a:off x="7839697" y="4493812"/>
            <a:ext cx="4352303" cy="236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465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070" name="Слайд think-cell" r:id="rId10" imgW="592" imgH="591" progId="TCLayout.ActiveDocument.1">
                  <p:embed/>
                </p:oleObj>
              </mc:Choice>
              <mc:Fallback>
                <p:oleObj name="Слайд think-cell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740895"/>
            <a:ext cx="10131552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en-US" dirty="0"/>
              <a:t>”</a:t>
            </a:r>
            <a:endParaRPr lang="ru-RU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130249"/>
            <a:ext cx="10131552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quote</a:t>
            </a:r>
            <a:r>
              <a:rPr lang="ru-RU" dirty="0"/>
              <a:t> </a:t>
            </a:r>
            <a:r>
              <a:rPr lang="ru-RU" dirty="0" err="1"/>
              <a:t>sourc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AA02EE99-53A8-4C7C-8962-0D63EC734C6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15E207E-5E76-49DE-8198-0BF5F72E95D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41823661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094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41F7C9-3BEE-4E80-B05C-60A793EA15B2}"/>
              </a:ext>
            </a:extLst>
          </p:cNvPr>
          <p:cNvSpPr>
            <a:spLocks/>
          </p:cNvSpPr>
          <p:nvPr userDrawn="1"/>
        </p:nvSpPr>
        <p:spPr>
          <a:xfrm>
            <a:off x="4886042" y="2416099"/>
            <a:ext cx="2310229" cy="28071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42875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18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FEE3A5-A3A7-4297-A8C7-B5862B97BF27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2559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142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CD0DEC-EEEF-47EF-9A8E-4A94BB12102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6708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166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F7D7A-9753-4863-B745-F9D2AC79964C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01530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190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noProof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noProof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B4F540-A11E-4765-A1FF-77BFDB64B366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59459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214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9A0E3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2514600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2200" dirty="0">
                <a:solidFill>
                  <a:srgbClr val="9A0E3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564610"/>
            <a:ext cx="2514600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4. Footnote" hidden="1">
            <a:extLst>
              <a:ext uri="{FF2B5EF4-FFF2-40B4-BE49-F238E27FC236}">
                <a16:creationId xmlns:a16="http://schemas.microsoft.com/office/drawing/2014/main" id="{E91B258C-2CE3-47AD-91B7-5D22A691D52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2514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E0E9C24-A775-45BA-A2B2-E9A468FB0E1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31F57B-135A-401C-B20D-5F82CCD2375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24760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2795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238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62409B-C05A-48C2-8CC4-9DF0A216A81E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9593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262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1E9756-D8BC-496B-B422-4BF4D3480224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05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21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836702"/>
            <a:ext cx="3465576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564610"/>
            <a:ext cx="3465575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1FBE24E8-31AF-4C3E-A5B5-E9DFC553F27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7" y="6330793"/>
            <a:ext cx="346557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791DA78-DD6B-4CB7-9030-81E41768DCB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FEE3A5-A3A7-4297-A8C7-B5862B97BF27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117573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1697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286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465A596-5586-4B50-AE46-291D0BF14D29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3271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310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noProof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noProof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A03A91-E41B-472C-A65A-A7B288115153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9A0E33"/>
              </a:gs>
              <a:gs pos="24000">
                <a:srgbClr val="9A0E33">
                  <a:alpha val="0"/>
                </a:srgbClr>
              </a:gs>
              <a:gs pos="0">
                <a:srgbClr val="460617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06214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334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ru-RU" sz="800" b="0" smtClean="0">
                <a:solidFill>
                  <a:srgbClr val="A6A6A6"/>
                </a:solidFill>
                <a:latin typeface="+mn-lt"/>
                <a:ea typeface="+mn-ea"/>
                <a:cs typeface="+mn-cs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800" b="0" dirty="0">
              <a:solidFill>
                <a:srgbClr val="A6A6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6" name="4. Footnote" hidden="1">
            <a:extLst>
              <a:ext uri="{FF2B5EF4-FFF2-40B4-BE49-F238E27FC236}">
                <a16:creationId xmlns:a16="http://schemas.microsoft.com/office/drawing/2014/main" id="{7C25CC01-4EAE-4262-8730-8E95A2982CF9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C3F96D2-A16F-49CC-A65A-8036D14C4AB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21581054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58" name="Слайд think-cell" r:id="rId6" imgW="592" imgH="591" progId="TCLayout.ActiveDocument.1">
                  <p:embed/>
                </p:oleObj>
              </mc:Choice>
              <mc:Fallback>
                <p:oleObj name="Слайд think-cell" r:id="rId6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3800" dirty="0">
                <a:latin typeface="+mn-lt"/>
                <a:ea typeface="+mn-ea"/>
                <a:cs typeface="+mn-cs"/>
              </a:rPr>
              <a:t>END</a:t>
            </a:r>
          </a:p>
        </p:txBody>
      </p:sp>
      <p:sp>
        <p:nvSpPr>
          <p:cNvPr id="5" name="4. Footnote" hidden="1">
            <a:extLst>
              <a:ext uri="{FF2B5EF4-FFF2-40B4-BE49-F238E27FC236}">
                <a16:creationId xmlns:a16="http://schemas.microsoft.com/office/drawing/2014/main" id="{59A60F0F-7511-49F0-BBCF-2DE6FB5D50A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724864CF-8CD7-4C9B-9FD5-09CDA7EDF9DB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54735" y="6514142"/>
            <a:ext cx="110825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</p:spTree>
    <p:extLst>
      <p:ext uri="{BB962C8B-B14F-4D97-AF65-F5344CB8AC3E}">
        <p14:creationId xmlns:p14="http://schemas.microsoft.com/office/powerpoint/2010/main" val="41712079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7AE7B-6002-477E-B239-9EC0EE5F4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3AABD-C22F-4949-B817-0A43562122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18599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38292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053385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F9FB2-F12B-454A-BE70-50CF973BED38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0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1579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55493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428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45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5065776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50657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597DC5CB-D54D-4340-AB36-B256B0AC917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506577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7378B9-4AD0-4D5D-A5DA-1170C3F12797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CD0DEC-EEEF-47EF-9A8E-4A94BB121020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290395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7127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6218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117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6461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20260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5943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16930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9892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37552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4258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370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969" name="Слайд think-cell" r:id="rId11" imgW="572" imgH="588" progId="TCLayout.ActiveDocument.1">
                  <p:embed/>
                </p:oleObj>
              </mc:Choice>
              <mc:Fallback>
                <p:oleObj name="Слайд think-cell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26624"/>
            <a:ext cx="6967728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69677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8759C0DC-CA42-4D58-8D3F-AD4C6CAE3A1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69677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AC3100F-5CEB-4A91-9B1F-8F2834961E6C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F7D7A-9753-4863-B745-F9D2AC79964C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4641312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16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993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26624"/>
            <a:ext cx="7918704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596"/>
            <a:ext cx="79187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44C30949-359D-483D-8AB0-470F0738EC4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6" y="6330793"/>
            <a:ext cx="791870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C638687-9D2C-4819-8EA7-89C77797F3C6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4736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B4F540-A11E-4765-A1FF-77BFDB64B366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5592416" y="3189000"/>
            <a:ext cx="6858002" cy="480001"/>
          </a:xfrm>
          <a:prstGeom prst="rect">
            <a:avLst/>
          </a:prstGeom>
          <a:gradFill>
            <a:gsLst>
              <a:gs pos="100000">
                <a:srgbClr val="D9D9D9">
                  <a:alpha val="0"/>
                </a:srgbClr>
              </a:gs>
              <a:gs pos="24000">
                <a:srgbClr val="D9D9D9">
                  <a:alpha val="15000"/>
                </a:srgbClr>
              </a:gs>
              <a:gs pos="0">
                <a:schemeClr val="bg1">
                  <a:lumMod val="6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07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oleObject" Target="../embeddings/oleObject18.bin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17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21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18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20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19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18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35.bin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4" Type="http://schemas.openxmlformats.org/officeDocument/2006/relationships/vmlDrawing" Target="../drawings/vmlDrawing3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oleObject" Target="../embeddings/oleObject38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236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vmlDrawing" Target="../drawings/vmlDrawing38.vml"/><Relationship Id="rId5" Type="http://schemas.openxmlformats.org/officeDocument/2006/relationships/slideLayout" Target="../slideLayouts/slideLayout4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vmlDrawing" Target="../drawings/vmlDrawing39.vml"/><Relationship Id="rId1" Type="http://schemas.openxmlformats.org/officeDocument/2006/relationships/theme" Target="../theme/theme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oleObject" Target="../embeddings/oleObject40.bin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23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tags" Target="../tags/tag24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vmlDrawing" Target="../drawings/vmlDrawing40.v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tags" Target="../tags/tag24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tags" Target="../tags/tag240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5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tags" Target="../tags/tag239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slideLayout" Target="../slideLayouts/slideLayout68.xml"/><Relationship Id="rId7" Type="http://schemas.openxmlformats.org/officeDocument/2006/relationships/tags" Target="../tags/tag354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353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7.xml"/><Relationship Id="rId9" Type="http://schemas.openxmlformats.org/officeDocument/2006/relationships/image" Target="../media/image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77" name="Слайд think-cell" r:id="rId26" imgW="413" imgH="416" progId="TCLayout.ActiveDocument.1">
                  <p:embed/>
                </p:oleObj>
              </mc:Choice>
              <mc:Fallback>
                <p:oleObj name="Слайд think-cell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Footnotes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226624"/>
            <a:ext cx="9989801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10557264" y="41597"/>
            <a:ext cx="1080000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3754105" y="2171700"/>
            <a:ext cx="30492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Above Chart Exhibit Title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Units of measur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5629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50" name="5. Source" hidden="1">
            <a:extLst>
              <a:ext uri="{FF2B5EF4-FFF2-40B4-BE49-F238E27FC236}">
                <a16:creationId xmlns:a16="http://schemas.microsoft.com/office/drawing/2014/main" id="{1B5DE5A7-2D1D-4A40-BE7D-BB40C3D416B3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grpSp>
        <p:nvGrpSpPr>
          <p:cNvPr id="6" name="Grid" hidden="1">
            <a:extLst>
              <a:ext uri="{FF2B5EF4-FFF2-40B4-BE49-F238E27FC236}">
                <a16:creationId xmlns:a16="http://schemas.microsoft.com/office/drawing/2014/main" id="{1D9F4D12-1DFF-41B1-B819-B21105F3C5FD}"/>
              </a:ext>
            </a:extLst>
          </p:cNvPr>
          <p:cNvGrpSpPr/>
          <p:nvPr userDrawn="1"/>
        </p:nvGrpSpPr>
        <p:grpSpPr>
          <a:xfrm>
            <a:off x="-497642" y="-473349"/>
            <a:ext cx="12134906" cy="6740642"/>
            <a:chOff x="-497642" y="-473349"/>
            <a:chExt cx="12134906" cy="6740642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DD1189C-DDE8-45B3-ABD7-88E0E80AC195}"/>
                </a:ext>
              </a:extLst>
            </p:cNvPr>
            <p:cNvSpPr>
              <a:spLocks/>
            </p:cNvSpPr>
            <p:nvPr userDrawn="1"/>
          </p:nvSpPr>
          <p:spPr>
            <a:xfrm>
              <a:off x="-497642" y="1265979"/>
              <a:ext cx="364936" cy="500131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ork area</a:t>
              </a:r>
              <a:endPara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03050732-7AD1-4473-B4C9-3C5B1492E16F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-473349"/>
              <a:ext cx="11082528" cy="33855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Work area</a:t>
              </a:r>
              <a:endPara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7E3655B-C4DE-4956-9351-1F851D67B95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730926" y="411407"/>
            <a:ext cx="906336" cy="49232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62E9E5C-0CFC-4408-873E-B021270B762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A0E3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89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200" b="1" kern="1200" spc="0" baseline="0" dirty="0">
          <a:ln w="6350" cap="flat">
            <a:noFill/>
            <a:miter lim="800000"/>
          </a:ln>
          <a:solidFill>
            <a:srgbClr val="9A0E3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549" name="Слайд think-cell" r:id="rId26" imgW="413" imgH="416" progId="TCLayout.ActiveDocument.1">
                  <p:embed/>
                </p:oleObj>
              </mc:Choice>
              <mc:Fallback>
                <p:oleObj name="Слайд think-cell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226624"/>
            <a:ext cx="9989801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10557264" y="41597"/>
            <a:ext cx="1080000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800" dirty="0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3754105" y="2171700"/>
            <a:ext cx="30492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latin typeface="+mn-lt"/>
                <a:ea typeface="+mn-ea"/>
                <a:cs typeface="+mn-cs"/>
              </a:rPr>
              <a:t>Above Chart Exhibit Title</a:t>
            </a:r>
            <a:br>
              <a:rPr lang="en-US" dirty="0">
                <a:latin typeface="+mn-lt"/>
                <a:ea typeface="+mn-ea"/>
                <a:cs typeface="+mn-cs"/>
              </a:rPr>
            </a:br>
            <a:r>
              <a:rPr lang="en-US" b="0" dirty="0">
                <a:latin typeface="+mn-lt"/>
                <a:ea typeface="+mn-ea"/>
                <a:cs typeface="+mn-cs"/>
              </a:rPr>
              <a:t>Units of measure</a:t>
            </a:r>
            <a:endParaRPr lang="ru-RU" b="0" dirty="0"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5629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50" name="5. Source" hidden="1">
            <a:extLst>
              <a:ext uri="{FF2B5EF4-FFF2-40B4-BE49-F238E27FC236}">
                <a16:creationId xmlns:a16="http://schemas.microsoft.com/office/drawing/2014/main" id="{1B5DE5A7-2D1D-4A40-BE7D-BB40C3D416B3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grpSp>
        <p:nvGrpSpPr>
          <p:cNvPr id="6" name="Grid" hidden="1">
            <a:extLst>
              <a:ext uri="{FF2B5EF4-FFF2-40B4-BE49-F238E27FC236}">
                <a16:creationId xmlns:a16="http://schemas.microsoft.com/office/drawing/2014/main" id="{1D9F4D12-1DFF-41B1-B819-B21105F3C5FD}"/>
              </a:ext>
            </a:extLst>
          </p:cNvPr>
          <p:cNvGrpSpPr/>
          <p:nvPr userDrawn="1"/>
        </p:nvGrpSpPr>
        <p:grpSpPr>
          <a:xfrm>
            <a:off x="-497642" y="-473349"/>
            <a:ext cx="12134906" cy="6740642"/>
            <a:chOff x="-497642" y="-473349"/>
            <a:chExt cx="12134906" cy="6740642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DD1189C-DDE8-45B3-ABD7-88E0E80AC195}"/>
                </a:ext>
              </a:extLst>
            </p:cNvPr>
            <p:cNvSpPr>
              <a:spLocks/>
            </p:cNvSpPr>
            <p:nvPr userDrawn="1"/>
          </p:nvSpPr>
          <p:spPr>
            <a:xfrm>
              <a:off x="-497642" y="1265979"/>
              <a:ext cx="364936" cy="500131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Work area</a:t>
              </a:r>
              <a:endParaRPr lang="ru-RU" sz="1600" b="1" dirty="0" err="1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03050732-7AD1-4473-B4C9-3C5B1492E16F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-473349"/>
              <a:ext cx="11082528" cy="33855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Work area</a:t>
              </a:r>
              <a:endParaRPr lang="ru-RU" sz="1600" b="1" dirty="0" err="1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7E3655B-C4DE-4956-9351-1F851D67B95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730926" y="411407"/>
            <a:ext cx="906336" cy="49232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62E9E5C-0CFC-4408-873E-B021270B762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A0E3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420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200" b="1" kern="1200" spc="0" baseline="0" dirty="0">
          <a:ln w="6350" cap="flat">
            <a:noFill/>
            <a:miter lim="800000"/>
          </a:ln>
          <a:solidFill>
            <a:srgbClr val="9A0E3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684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DF9FB2-F12B-454A-BE70-50CF973BED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39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42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418" name="Слайд think-cell" r:id="rId13" imgW="347" imgH="348" progId="TCLayout.ActiveDocument.1">
                  <p:embed/>
                </p:oleObj>
              </mc:Choice>
              <mc:Fallback>
                <p:oleObj name="Слайд think-cell" r:id="rId13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7635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  <p:sldLayoutId id="2147484195" r:id="rId3"/>
    <p:sldLayoutId id="2147484196" r:id="rId4"/>
    <p:sldLayoutId id="2147484197" r:id="rId5"/>
    <p:sldLayoutId id="2147484198" r:id="rId6"/>
    <p:sldLayoutId id="2147484199" r:id="rId7"/>
    <p:sldLayoutId id="2147484201" r:id="rId8"/>
    <p:sldLayoutId id="2147484202" r:id="rId9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61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25292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974" name="Слайд think-cell" r:id="rId26" imgW="413" imgH="416" progId="TCLayout.ActiveDocument.1">
                  <p:embed/>
                </p:oleObj>
              </mc:Choice>
              <mc:Fallback>
                <p:oleObj name="Слайд think-cell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>
          <a:xfrm>
            <a:off x="554736" y="6330793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err="1">
                <a:latin typeface="+mn-lt"/>
                <a:ea typeface="+mn-ea"/>
                <a:cs typeface="+mn-cs"/>
              </a:rPr>
              <a:t>Footnotes</a:t>
            </a:r>
            <a:endParaRPr lang="ru-RU" dirty="0">
              <a:latin typeface="+mn-lt"/>
              <a:ea typeface="+mn-ea"/>
              <a:cs typeface="+mn-cs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226624"/>
            <a:ext cx="9989801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10557264" y="41597"/>
            <a:ext cx="1080000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 algn="r"/>
            <a:r>
              <a:rPr lang="ru-RU" sz="800" dirty="0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3754105" y="2171700"/>
            <a:ext cx="30492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latin typeface="+mn-lt"/>
                <a:ea typeface="+mn-ea"/>
                <a:cs typeface="+mn-cs"/>
              </a:rPr>
              <a:t>Above Chart Exhibit Title</a:t>
            </a:r>
            <a:br>
              <a:rPr lang="en-US" dirty="0">
                <a:latin typeface="+mn-lt"/>
                <a:ea typeface="+mn-ea"/>
                <a:cs typeface="+mn-cs"/>
              </a:rPr>
            </a:br>
            <a:r>
              <a:rPr lang="en-US" b="0" dirty="0">
                <a:latin typeface="+mn-lt"/>
                <a:ea typeface="+mn-ea"/>
                <a:cs typeface="+mn-cs"/>
              </a:rPr>
              <a:t>Units of measure</a:t>
            </a:r>
            <a:endParaRPr lang="ru-RU" b="0" dirty="0"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5629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50" name="5. Source" hidden="1">
            <a:extLst>
              <a:ext uri="{FF2B5EF4-FFF2-40B4-BE49-F238E27FC236}">
                <a16:creationId xmlns:a16="http://schemas.microsoft.com/office/drawing/2014/main" id="{1B5DE5A7-2D1D-4A40-BE7D-BB40C3D416B3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>
          <a:xfrm>
            <a:off x="554736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800" dirty="0">
                <a:latin typeface="+mn-lt"/>
                <a:ea typeface="+mn-ea"/>
                <a:cs typeface="+mn-cs"/>
              </a:rPr>
              <a:t>Источник: …</a:t>
            </a:r>
          </a:p>
        </p:txBody>
      </p:sp>
      <p:grpSp>
        <p:nvGrpSpPr>
          <p:cNvPr id="6" name="Grid" hidden="1">
            <a:extLst>
              <a:ext uri="{FF2B5EF4-FFF2-40B4-BE49-F238E27FC236}">
                <a16:creationId xmlns:a16="http://schemas.microsoft.com/office/drawing/2014/main" id="{1D9F4D12-1DFF-41B1-B819-B21105F3C5FD}"/>
              </a:ext>
            </a:extLst>
          </p:cNvPr>
          <p:cNvGrpSpPr/>
          <p:nvPr userDrawn="1"/>
        </p:nvGrpSpPr>
        <p:grpSpPr>
          <a:xfrm>
            <a:off x="-497642" y="-473349"/>
            <a:ext cx="12134906" cy="6740642"/>
            <a:chOff x="-497642" y="-473349"/>
            <a:chExt cx="12134906" cy="6740642"/>
          </a:xfrm>
        </p:grpSpPr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DD1189C-DDE8-45B3-ABD7-88E0E80AC195}"/>
                </a:ext>
              </a:extLst>
            </p:cNvPr>
            <p:cNvSpPr>
              <a:spLocks/>
            </p:cNvSpPr>
            <p:nvPr userDrawn="1"/>
          </p:nvSpPr>
          <p:spPr>
            <a:xfrm>
              <a:off x="-497642" y="1265979"/>
              <a:ext cx="364936" cy="500131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Work area</a:t>
              </a:r>
              <a:endParaRPr lang="ru-RU" sz="1600" b="1" dirty="0" err="1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03050732-7AD1-4473-B4C9-3C5B1492E16F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-473349"/>
              <a:ext cx="11082528" cy="33855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Work area</a:t>
              </a:r>
              <a:endParaRPr lang="ru-RU" sz="1600" b="1" dirty="0" err="1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7E3655B-C4DE-4956-9351-1F851D67B95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730926" y="411407"/>
            <a:ext cx="906336" cy="49232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62E9E5C-0CFC-4408-873E-B021270B7626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A0E3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917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  <p:sldLayoutId id="2147484373" r:id="rId13"/>
    <p:sldLayoutId id="2147484374" r:id="rId14"/>
    <p:sldLayoutId id="2147484375" r:id="rId15"/>
    <p:sldLayoutId id="2147484376" r:id="rId16"/>
    <p:sldLayoutId id="2147484377" r:id="rId17"/>
    <p:sldLayoutId id="2147484378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200" b="1" kern="1200" spc="0" baseline="0" dirty="0">
          <a:ln w="6350" cap="flat">
            <a:noFill/>
            <a:miter lim="800000"/>
          </a:ln>
          <a:solidFill>
            <a:srgbClr val="9A0E3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971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DF9FB2-F12B-454A-BE70-50CF973BED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34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2" r:id="rId2"/>
    <p:sldLayoutId id="214748444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5E3B38-1F5E-4EFD-B8FC-231FE7392B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DD2054-39D9-4924-9AB5-FFA187DE32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6956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7" r:id="rId1"/>
    <p:sldLayoutId id="2147484448" r:id="rId2"/>
    <p:sldLayoutId id="2147484449" r:id="rId3"/>
    <p:sldLayoutId id="2147484450" r:id="rId4"/>
    <p:sldLayoutId id="2147484451" r:id="rId5"/>
    <p:sldLayoutId id="2147484452" r:id="rId6"/>
    <p:sldLayoutId id="2147484453" r:id="rId7"/>
    <p:sldLayoutId id="2147484454" r:id="rId8"/>
    <p:sldLayoutId id="2147484455" r:id="rId9"/>
    <p:sldLayoutId id="2147484456" r:id="rId10"/>
    <p:sldLayoutId id="214748445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58.xml"/><Relationship Id="rId7" Type="http://schemas.openxmlformats.org/officeDocument/2006/relationships/image" Target="../media/image9.emf"/><Relationship Id="rId2" Type="http://schemas.openxmlformats.org/officeDocument/2006/relationships/tags" Target="../tags/tag357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60.xml"/><Relationship Id="rId7" Type="http://schemas.openxmlformats.org/officeDocument/2006/relationships/image" Target="../media/image7.emf"/><Relationship Id="rId2" Type="http://schemas.openxmlformats.org/officeDocument/2006/relationships/tags" Target="../tags/tag359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2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75.xml"/><Relationship Id="rId9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362.xml"/><Relationship Id="rId7" Type="http://schemas.openxmlformats.org/officeDocument/2006/relationships/image" Target="../media/image7.emf"/><Relationship Id="rId2" Type="http://schemas.openxmlformats.org/officeDocument/2006/relationships/tags" Target="../tags/tag361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8.xml"/><Relationship Id="rId9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7" Type="http://schemas.openxmlformats.org/officeDocument/2006/relationships/image" Target="../media/image7.emf"/><Relationship Id="rId2" Type="http://schemas.openxmlformats.org/officeDocument/2006/relationships/tags" Target="../tags/tag36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779" name="Слайд think-cell" r:id="rId6" imgW="429" imgH="429" progId="TCLayout.ActiveDocument.1">
                  <p:embed/>
                </p:oleObj>
              </mc:Choice>
              <mc:Fallback>
                <p:oleObj name="Слайд think-cell" r:id="rId6" imgW="429" imgH="429" progId="TCLayout.ActiveDocument.1">
                  <p:embed/>
                  <p:pic>
                    <p:nvPicPr>
                      <p:cNvPr id="24" name="Объект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/>
          <a:srcRect l="15344" r="28593"/>
          <a:stretch/>
        </p:blipFill>
        <p:spPr>
          <a:xfrm>
            <a:off x="0" y="622299"/>
            <a:ext cx="6229350" cy="6244505"/>
          </a:xfrm>
          <a:prstGeom prst="rect">
            <a:avLst/>
          </a:prstGeom>
        </p:spPr>
      </p:pic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1E4A8A35-96E8-4E32-AEE8-52855F2CA079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Полилиния 31"/>
          <p:cNvSpPr/>
          <p:nvPr/>
        </p:nvSpPr>
        <p:spPr>
          <a:xfrm>
            <a:off x="0" y="-15326"/>
            <a:ext cx="12192000" cy="6878596"/>
          </a:xfrm>
          <a:custGeom>
            <a:avLst/>
            <a:gdLst>
              <a:gd name="connsiteX0" fmla="*/ 0 w 12192000"/>
              <a:gd name="connsiteY0" fmla="*/ 0 h 6878596"/>
              <a:gd name="connsiteX1" fmla="*/ 12192000 w 12192000"/>
              <a:gd name="connsiteY1" fmla="*/ 0 h 6878596"/>
              <a:gd name="connsiteX2" fmla="*/ 12192000 w 12192000"/>
              <a:gd name="connsiteY2" fmla="*/ 6878596 h 6878596"/>
              <a:gd name="connsiteX3" fmla="*/ 5685146 w 12192000"/>
              <a:gd name="connsiteY3" fmla="*/ 6878596 h 6878596"/>
              <a:gd name="connsiteX4" fmla="*/ 5819521 w 12192000"/>
              <a:gd name="connsiteY4" fmla="*/ 6599652 h 6878596"/>
              <a:gd name="connsiteX5" fmla="*/ 6148870 w 12192000"/>
              <a:gd name="connsiteY5" fmla="*/ 4968326 h 6878596"/>
              <a:gd name="connsiteX6" fmla="*/ 1957870 w 12192000"/>
              <a:gd name="connsiteY6" fmla="*/ 777326 h 6878596"/>
              <a:gd name="connsiteX7" fmla="*/ 140899 w 12192000"/>
              <a:gd name="connsiteY7" fmla="*/ 1190604 h 6878596"/>
              <a:gd name="connsiteX8" fmla="*/ 0 w 12192000"/>
              <a:gd name="connsiteY8" fmla="*/ 1262768 h 687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78596">
                <a:moveTo>
                  <a:pt x="0" y="0"/>
                </a:moveTo>
                <a:lnTo>
                  <a:pt x="12192000" y="0"/>
                </a:lnTo>
                <a:lnTo>
                  <a:pt x="12192000" y="6878596"/>
                </a:lnTo>
                <a:lnTo>
                  <a:pt x="5685146" y="6878596"/>
                </a:lnTo>
                <a:lnTo>
                  <a:pt x="5819521" y="6599652"/>
                </a:lnTo>
                <a:cubicBezTo>
                  <a:pt x="6031597" y="6098248"/>
                  <a:pt x="6148870" y="5546982"/>
                  <a:pt x="6148870" y="4968326"/>
                </a:cubicBezTo>
                <a:cubicBezTo>
                  <a:pt x="6148870" y="2653701"/>
                  <a:pt x="4272495" y="777326"/>
                  <a:pt x="1957870" y="777326"/>
                </a:cubicBezTo>
                <a:cubicBezTo>
                  <a:pt x="1306882" y="777326"/>
                  <a:pt x="690560" y="925750"/>
                  <a:pt x="140899" y="1190604"/>
                </a:cubicBezTo>
                <a:lnTo>
                  <a:pt x="0" y="1262768"/>
                </a:lnTo>
                <a:close/>
              </a:path>
            </a:pathLst>
          </a:custGeom>
          <a:solidFill>
            <a:srgbClr val="BA39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Овал 28"/>
          <p:cNvSpPr>
            <a:spLocks noChangeAspect="1"/>
          </p:cNvSpPr>
          <p:nvPr/>
        </p:nvSpPr>
        <p:spPr>
          <a:xfrm>
            <a:off x="11276057" y="6249626"/>
            <a:ext cx="260928" cy="2609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Овал 29"/>
          <p:cNvSpPr>
            <a:spLocks noChangeAspect="1"/>
          </p:cNvSpPr>
          <p:nvPr/>
        </p:nvSpPr>
        <p:spPr>
          <a:xfrm>
            <a:off x="10848216" y="6255482"/>
            <a:ext cx="260928" cy="2609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Овал 30"/>
          <p:cNvSpPr>
            <a:spLocks noChangeAspect="1"/>
          </p:cNvSpPr>
          <p:nvPr/>
        </p:nvSpPr>
        <p:spPr>
          <a:xfrm>
            <a:off x="10414000" y="6249626"/>
            <a:ext cx="260928" cy="2609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ircle: Hollow 13">
            <a:extLst>
              <a:ext uri="{FF2B5EF4-FFF2-40B4-BE49-F238E27FC236}">
                <a16:creationId xmlns:a16="http://schemas.microsoft.com/office/drawing/2014/main" id="{174D62C4-163F-442A-9123-279BFE505046}"/>
              </a:ext>
            </a:extLst>
          </p:cNvPr>
          <p:cNvSpPr>
            <a:spLocks noChangeAspect="1"/>
          </p:cNvSpPr>
          <p:nvPr/>
        </p:nvSpPr>
        <p:spPr>
          <a:xfrm>
            <a:off x="10245093" y="-1916359"/>
            <a:ext cx="3877308" cy="3877308"/>
          </a:xfrm>
          <a:prstGeom prst="ellipse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4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E12A3086-EDFC-4DFF-A9D6-B16DE5F087A9}"/>
              </a:ext>
            </a:extLst>
          </p:cNvPr>
          <p:cNvSpPr/>
          <p:nvPr/>
        </p:nvSpPr>
        <p:spPr>
          <a:xfrm>
            <a:off x="5120216" y="2427832"/>
            <a:ext cx="7813390" cy="1825236"/>
          </a:xfrm>
          <a:prstGeom prst="rect">
            <a:avLst/>
          </a:prstGeom>
          <a:noFill/>
          <a:ln>
            <a:noFill/>
          </a:ln>
          <a:effectLst>
            <a:outerShdw blurRad="50800" dist="88900" dir="2700000" algn="tl" rotWithShape="0">
              <a:prstClr val="black">
                <a:alpha val="2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defTabSz="685800">
              <a:spcBef>
                <a:spcPts val="750"/>
              </a:spcBef>
              <a:defRPr/>
            </a:pPr>
            <a:r>
              <a:rPr lang="ru-RU" sz="8000" b="1" dirty="0">
                <a:solidFill>
                  <a:prstClr val="white"/>
                </a:solidFill>
                <a:latin typeface="Bahnschrift SemiBold" panose="020B05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РМ Аналитика</a:t>
            </a:r>
          </a:p>
        </p:txBody>
      </p:sp>
      <p:sp>
        <p:nvSpPr>
          <p:cNvPr id="57" name="Circle: Hollow 13">
            <a:extLst>
              <a:ext uri="{FF2B5EF4-FFF2-40B4-BE49-F238E27FC236}">
                <a16:creationId xmlns:a16="http://schemas.microsoft.com/office/drawing/2014/main" id="{174D62C4-163F-442A-9123-279BFE505046}"/>
              </a:ext>
            </a:extLst>
          </p:cNvPr>
          <p:cNvSpPr>
            <a:spLocks noChangeAspect="1"/>
          </p:cNvSpPr>
          <p:nvPr/>
        </p:nvSpPr>
        <p:spPr>
          <a:xfrm>
            <a:off x="-1930402" y="1960949"/>
            <a:ext cx="6579721" cy="6579721"/>
          </a:xfrm>
          <a:prstGeom prst="donut">
            <a:avLst>
              <a:gd name="adj" fmla="val 12939"/>
            </a:avLst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4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12A3086-EDFC-4DFF-A9D6-B16DE5F087A9}"/>
              </a:ext>
            </a:extLst>
          </p:cNvPr>
          <p:cNvSpPr/>
          <p:nvPr/>
        </p:nvSpPr>
        <p:spPr>
          <a:xfrm>
            <a:off x="5120216" y="526923"/>
            <a:ext cx="8180918" cy="1735442"/>
          </a:xfrm>
          <a:prstGeom prst="rect">
            <a:avLst/>
          </a:prstGeom>
          <a:noFill/>
          <a:ln>
            <a:noFill/>
          </a:ln>
          <a:effectLst>
            <a:outerShdw blurRad="50800" dist="88900" dir="2700000" algn="tl" rotWithShape="0">
              <a:prstClr val="black">
                <a:alpha val="2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noProof="0" dirty="0" smtClean="0">
                <a:solidFill>
                  <a:prstClr val="white"/>
                </a:solidFill>
                <a:latin typeface="Bahnschrift SemiBold" panose="020B05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Опрос удовлетворенности отчетностью </a:t>
            </a:r>
            <a:r>
              <a:rPr lang="en-US" sz="4000" b="1" noProof="0" dirty="0" err="1" smtClean="0">
                <a:solidFill>
                  <a:prstClr val="white"/>
                </a:solidFill>
                <a:latin typeface="Bahnschrift SemiBold" panose="020B05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Qlik</a:t>
            </a:r>
            <a:r>
              <a:rPr lang="en-US" sz="4000" b="1" noProof="0" dirty="0" smtClean="0">
                <a:solidFill>
                  <a:prstClr val="white"/>
                </a:solidFill>
                <a:latin typeface="Bahnschrift SemiBold" panose="020B0502040204020203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 Sense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 SemiBold" panose="020B0502040204020203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8" name="Google Shape;778;p52"/>
          <p:cNvSpPr/>
          <p:nvPr/>
        </p:nvSpPr>
        <p:spPr>
          <a:xfrm rot="10800000">
            <a:off x="-341467" y="5719486"/>
            <a:ext cx="4208672" cy="1206845"/>
          </a:xfrm>
          <a:custGeom>
            <a:avLst/>
            <a:gdLst/>
            <a:ahLst/>
            <a:cxnLst/>
            <a:rect l="l" t="t" r="r" b="b"/>
            <a:pathLst>
              <a:path w="18860" h="7627" extrusionOk="0">
                <a:moveTo>
                  <a:pt x="1" y="0"/>
                </a:moveTo>
                <a:cubicBezTo>
                  <a:pt x="764" y="988"/>
                  <a:pt x="2025" y="1570"/>
                  <a:pt x="3281" y="1570"/>
                </a:cubicBezTo>
                <a:cubicBezTo>
                  <a:pt x="3585" y="1570"/>
                  <a:pt x="3889" y="1536"/>
                  <a:pt x="4185" y="1465"/>
                </a:cubicBezTo>
                <a:cubicBezTo>
                  <a:pt x="4994" y="1256"/>
                  <a:pt x="5761" y="795"/>
                  <a:pt x="6598" y="795"/>
                </a:cubicBezTo>
                <a:cubicBezTo>
                  <a:pt x="7686" y="795"/>
                  <a:pt x="8649" y="1549"/>
                  <a:pt x="9235" y="2455"/>
                </a:cubicBezTo>
                <a:cubicBezTo>
                  <a:pt x="9848" y="3348"/>
                  <a:pt x="10197" y="4394"/>
                  <a:pt x="10713" y="5329"/>
                </a:cubicBezTo>
                <a:cubicBezTo>
                  <a:pt x="11243" y="6291"/>
                  <a:pt x="11969" y="7198"/>
                  <a:pt x="13001" y="7505"/>
                </a:cubicBezTo>
                <a:cubicBezTo>
                  <a:pt x="13270" y="7588"/>
                  <a:pt x="13543" y="7627"/>
                  <a:pt x="13815" y="7627"/>
                </a:cubicBezTo>
                <a:cubicBezTo>
                  <a:pt x="15001" y="7627"/>
                  <a:pt x="16180" y="6898"/>
                  <a:pt x="16962" y="5956"/>
                </a:cubicBezTo>
                <a:cubicBezTo>
                  <a:pt x="18315" y="4338"/>
                  <a:pt x="18859" y="2051"/>
                  <a:pt x="18385" y="0"/>
                </a:cubicBezTo>
                <a:close/>
              </a:path>
            </a:pathLst>
          </a:cu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2980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1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Freeform: Shape 41">
            <a:extLst>
              <a:ext uri="{FF2B5EF4-FFF2-40B4-BE49-F238E27FC236}">
                <a16:creationId xmlns:a16="http://schemas.microsoft.com/office/drawing/2014/main" id="{69D10E0F-5EC3-4026-ADF4-E3B33AB14164}"/>
              </a:ext>
            </a:extLst>
          </p:cNvPr>
          <p:cNvSpPr>
            <a:spLocks/>
          </p:cNvSpPr>
          <p:nvPr/>
        </p:nvSpPr>
        <p:spPr bwMode="auto">
          <a:xfrm>
            <a:off x="5589016" y="139736"/>
            <a:ext cx="4123886" cy="685521"/>
          </a:xfrm>
          <a:custGeom>
            <a:avLst/>
            <a:gdLst>
              <a:gd name="connsiteX0" fmla="*/ 1649375 w 8882887"/>
              <a:gd name="connsiteY0" fmla="*/ 0 h 1682495"/>
              <a:gd name="connsiteX1" fmla="*/ 1652414 w 8882887"/>
              <a:gd name="connsiteY1" fmla="*/ 369665 h 1682495"/>
              <a:gd name="connsiteX2" fmla="*/ 1710174 w 8882887"/>
              <a:gd name="connsiteY2" fmla="*/ 489644 h 1682495"/>
              <a:gd name="connsiteX3" fmla="*/ 1713215 w 8882887"/>
              <a:gd name="connsiteY3" fmla="*/ 489644 h 1682495"/>
              <a:gd name="connsiteX4" fmla="*/ 1734495 w 8882887"/>
              <a:gd name="connsiteY4" fmla="*/ 489644 h 1682495"/>
              <a:gd name="connsiteX5" fmla="*/ 1734495 w 8882887"/>
              <a:gd name="connsiteY5" fmla="*/ 525312 h 1682495"/>
              <a:gd name="connsiteX6" fmla="*/ 1735256 w 8882887"/>
              <a:gd name="connsiteY6" fmla="*/ 526529 h 1682495"/>
              <a:gd name="connsiteX7" fmla="*/ 1740575 w 8882887"/>
              <a:gd name="connsiteY7" fmla="*/ 535041 h 1682495"/>
              <a:gd name="connsiteX8" fmla="*/ 1740575 w 8882887"/>
              <a:gd name="connsiteY8" fmla="*/ 706902 h 1682495"/>
              <a:gd name="connsiteX9" fmla="*/ 1743995 w 8882887"/>
              <a:gd name="connsiteY9" fmla="*/ 706902 h 1682495"/>
              <a:gd name="connsiteX10" fmla="*/ 1767936 w 8882887"/>
              <a:gd name="connsiteY10" fmla="*/ 706902 h 1682495"/>
              <a:gd name="connsiteX11" fmla="*/ 1767936 w 8882887"/>
              <a:gd name="connsiteY11" fmla="*/ 917675 h 1682495"/>
              <a:gd name="connsiteX12" fmla="*/ 1770216 w 8882887"/>
              <a:gd name="connsiteY12" fmla="*/ 917270 h 1682495"/>
              <a:gd name="connsiteX13" fmla="*/ 1786176 w 8882887"/>
              <a:gd name="connsiteY13" fmla="*/ 914433 h 1682495"/>
              <a:gd name="connsiteX14" fmla="*/ 1783136 w 8882887"/>
              <a:gd name="connsiteY14" fmla="*/ 1047381 h 1682495"/>
              <a:gd name="connsiteX15" fmla="*/ 1785416 w 8882887"/>
              <a:gd name="connsiteY15" fmla="*/ 1047788 h 1682495"/>
              <a:gd name="connsiteX16" fmla="*/ 1801376 w 8882887"/>
              <a:gd name="connsiteY16" fmla="*/ 1050624 h 1682495"/>
              <a:gd name="connsiteX17" fmla="*/ 1801755 w 8882887"/>
              <a:gd name="connsiteY17" fmla="*/ 1051841 h 1682495"/>
              <a:gd name="connsiteX18" fmla="*/ 1804416 w 8882887"/>
              <a:gd name="connsiteY18" fmla="*/ 1060353 h 1682495"/>
              <a:gd name="connsiteX19" fmla="*/ 1805556 w 8882887"/>
              <a:gd name="connsiteY19" fmla="*/ 1056705 h 1682495"/>
              <a:gd name="connsiteX20" fmla="*/ 1813536 w 8882887"/>
              <a:gd name="connsiteY20" fmla="*/ 1031169 h 1682495"/>
              <a:gd name="connsiteX21" fmla="*/ 1816196 w 8882887"/>
              <a:gd name="connsiteY21" fmla="*/ 1031169 h 1682495"/>
              <a:gd name="connsiteX22" fmla="*/ 1834817 w 8882887"/>
              <a:gd name="connsiteY22" fmla="*/ 1031169 h 1682495"/>
              <a:gd name="connsiteX23" fmla="*/ 1834817 w 8882887"/>
              <a:gd name="connsiteY23" fmla="*/ 1079808 h 1682495"/>
              <a:gd name="connsiteX24" fmla="*/ 1836336 w 8882887"/>
              <a:gd name="connsiteY24" fmla="*/ 1080620 h 1682495"/>
              <a:gd name="connsiteX25" fmla="*/ 1846977 w 8882887"/>
              <a:gd name="connsiteY25" fmla="*/ 1086294 h 1682495"/>
              <a:gd name="connsiteX26" fmla="*/ 1846977 w 8882887"/>
              <a:gd name="connsiteY26" fmla="*/ 1088321 h 1682495"/>
              <a:gd name="connsiteX27" fmla="*/ 1846977 w 8882887"/>
              <a:gd name="connsiteY27" fmla="*/ 1102508 h 1682495"/>
              <a:gd name="connsiteX28" fmla="*/ 1913858 w 8882887"/>
              <a:gd name="connsiteY28" fmla="*/ 1102508 h 1682495"/>
              <a:gd name="connsiteX29" fmla="*/ 1913858 w 8882887"/>
              <a:gd name="connsiteY29" fmla="*/ 1104129 h 1682495"/>
              <a:gd name="connsiteX30" fmla="*/ 1913858 w 8882887"/>
              <a:gd name="connsiteY30" fmla="*/ 1115478 h 1682495"/>
              <a:gd name="connsiteX31" fmla="*/ 1916897 w 8882887"/>
              <a:gd name="connsiteY31" fmla="*/ 1115478 h 1682495"/>
              <a:gd name="connsiteX32" fmla="*/ 1938177 w 8882887"/>
              <a:gd name="connsiteY32" fmla="*/ 1115478 h 1682495"/>
              <a:gd name="connsiteX33" fmla="*/ 1938177 w 8882887"/>
              <a:gd name="connsiteY33" fmla="*/ 1070081 h 1682495"/>
              <a:gd name="connsiteX34" fmla="*/ 2005058 w 8882887"/>
              <a:gd name="connsiteY34" fmla="*/ 1070081 h 1682495"/>
              <a:gd name="connsiteX35" fmla="*/ 2005058 w 8882887"/>
              <a:gd name="connsiteY35" fmla="*/ 1068054 h 1682495"/>
              <a:gd name="connsiteX36" fmla="*/ 2005058 w 8882887"/>
              <a:gd name="connsiteY36" fmla="*/ 1053867 h 1682495"/>
              <a:gd name="connsiteX37" fmla="*/ 2006579 w 8882887"/>
              <a:gd name="connsiteY37" fmla="*/ 1053867 h 1682495"/>
              <a:gd name="connsiteX38" fmla="*/ 2017218 w 8882887"/>
              <a:gd name="connsiteY38" fmla="*/ 1053867 h 1682495"/>
              <a:gd name="connsiteX39" fmla="*/ 2017218 w 8882887"/>
              <a:gd name="connsiteY39" fmla="*/ 1051031 h 1682495"/>
              <a:gd name="connsiteX40" fmla="*/ 2017218 w 8882887"/>
              <a:gd name="connsiteY40" fmla="*/ 1031169 h 1682495"/>
              <a:gd name="connsiteX41" fmla="*/ 2018358 w 8882887"/>
              <a:gd name="connsiteY41" fmla="*/ 1031169 h 1682495"/>
              <a:gd name="connsiteX42" fmla="*/ 2026338 w 8882887"/>
              <a:gd name="connsiteY42" fmla="*/ 1031169 h 1682495"/>
              <a:gd name="connsiteX43" fmla="*/ 2026338 w 8882887"/>
              <a:gd name="connsiteY43" fmla="*/ 1029548 h 1682495"/>
              <a:gd name="connsiteX44" fmla="*/ 2026338 w 8882887"/>
              <a:gd name="connsiteY44" fmla="*/ 1018197 h 1682495"/>
              <a:gd name="connsiteX45" fmla="*/ 2029379 w 8882887"/>
              <a:gd name="connsiteY45" fmla="*/ 1018197 h 1682495"/>
              <a:gd name="connsiteX46" fmla="*/ 2050659 w 8882887"/>
              <a:gd name="connsiteY46" fmla="*/ 1018197 h 1682495"/>
              <a:gd name="connsiteX47" fmla="*/ 2050659 w 8882887"/>
              <a:gd name="connsiteY47" fmla="*/ 1019819 h 1682495"/>
              <a:gd name="connsiteX48" fmla="*/ 2050659 w 8882887"/>
              <a:gd name="connsiteY48" fmla="*/ 1031169 h 1682495"/>
              <a:gd name="connsiteX49" fmla="*/ 2084099 w 8882887"/>
              <a:gd name="connsiteY49" fmla="*/ 1031169 h 1682495"/>
              <a:gd name="connsiteX50" fmla="*/ 2084099 w 8882887"/>
              <a:gd name="connsiteY50" fmla="*/ 1028331 h 1682495"/>
              <a:gd name="connsiteX51" fmla="*/ 2084099 w 8882887"/>
              <a:gd name="connsiteY51" fmla="*/ 1008470 h 1682495"/>
              <a:gd name="connsiteX52" fmla="*/ 2086760 w 8882887"/>
              <a:gd name="connsiteY52" fmla="*/ 1008470 h 1682495"/>
              <a:gd name="connsiteX53" fmla="*/ 2105379 w 8882887"/>
              <a:gd name="connsiteY53" fmla="*/ 1008470 h 1682495"/>
              <a:gd name="connsiteX54" fmla="*/ 2105379 w 8882887"/>
              <a:gd name="connsiteY54" fmla="*/ 1044140 h 1682495"/>
              <a:gd name="connsiteX55" fmla="*/ 2106900 w 8882887"/>
              <a:gd name="connsiteY55" fmla="*/ 1044140 h 1682495"/>
              <a:gd name="connsiteX56" fmla="*/ 2117540 w 8882887"/>
              <a:gd name="connsiteY56" fmla="*/ 1044140 h 1682495"/>
              <a:gd name="connsiteX57" fmla="*/ 2117540 w 8882887"/>
              <a:gd name="connsiteY57" fmla="*/ 1042518 h 1682495"/>
              <a:gd name="connsiteX58" fmla="*/ 2117540 w 8882887"/>
              <a:gd name="connsiteY58" fmla="*/ 1031169 h 1682495"/>
              <a:gd name="connsiteX59" fmla="*/ 2120199 w 8882887"/>
              <a:gd name="connsiteY59" fmla="*/ 1031169 h 1682495"/>
              <a:gd name="connsiteX60" fmla="*/ 2138820 w 8882887"/>
              <a:gd name="connsiteY60" fmla="*/ 1031169 h 1682495"/>
              <a:gd name="connsiteX61" fmla="*/ 2138820 w 8882887"/>
              <a:gd name="connsiteY61" fmla="*/ 1070081 h 1682495"/>
              <a:gd name="connsiteX62" fmla="*/ 2141861 w 8882887"/>
              <a:gd name="connsiteY62" fmla="*/ 1070081 h 1682495"/>
              <a:gd name="connsiteX63" fmla="*/ 2163140 w 8882887"/>
              <a:gd name="connsiteY63" fmla="*/ 1070081 h 1682495"/>
              <a:gd name="connsiteX64" fmla="*/ 2163140 w 8882887"/>
              <a:gd name="connsiteY64" fmla="*/ 1072512 h 1682495"/>
              <a:gd name="connsiteX65" fmla="*/ 2163140 w 8882887"/>
              <a:gd name="connsiteY65" fmla="*/ 1089537 h 1682495"/>
              <a:gd name="connsiteX66" fmla="*/ 2164280 w 8882887"/>
              <a:gd name="connsiteY66" fmla="*/ 1089537 h 1682495"/>
              <a:gd name="connsiteX67" fmla="*/ 2172261 w 8882887"/>
              <a:gd name="connsiteY67" fmla="*/ 1089537 h 1682495"/>
              <a:gd name="connsiteX68" fmla="*/ 2172261 w 8882887"/>
              <a:gd name="connsiteY68" fmla="*/ 1088321 h 1682495"/>
              <a:gd name="connsiteX69" fmla="*/ 2172261 w 8882887"/>
              <a:gd name="connsiteY69" fmla="*/ 1079808 h 1682495"/>
              <a:gd name="connsiteX70" fmla="*/ 2217861 w 8882887"/>
              <a:gd name="connsiteY70" fmla="*/ 1079808 h 1682495"/>
              <a:gd name="connsiteX71" fmla="*/ 2217861 w 8882887"/>
              <a:gd name="connsiteY71" fmla="*/ 1115478 h 1682495"/>
              <a:gd name="connsiteX72" fmla="*/ 2219381 w 8882887"/>
              <a:gd name="connsiteY72" fmla="*/ 1115478 h 1682495"/>
              <a:gd name="connsiteX73" fmla="*/ 2230022 w 8882887"/>
              <a:gd name="connsiteY73" fmla="*/ 1115478 h 1682495"/>
              <a:gd name="connsiteX74" fmla="*/ 2230022 w 8882887"/>
              <a:gd name="connsiteY74" fmla="*/ 1117100 h 1682495"/>
              <a:gd name="connsiteX75" fmla="*/ 2230022 w 8882887"/>
              <a:gd name="connsiteY75" fmla="*/ 1128449 h 1682495"/>
              <a:gd name="connsiteX76" fmla="*/ 2231162 w 8882887"/>
              <a:gd name="connsiteY76" fmla="*/ 1128449 h 1682495"/>
              <a:gd name="connsiteX77" fmla="*/ 2239142 w 8882887"/>
              <a:gd name="connsiteY77" fmla="*/ 1128449 h 1682495"/>
              <a:gd name="connsiteX78" fmla="*/ 2239142 w 8882887"/>
              <a:gd name="connsiteY78" fmla="*/ 1125206 h 1682495"/>
              <a:gd name="connsiteX79" fmla="*/ 2239142 w 8882887"/>
              <a:gd name="connsiteY79" fmla="*/ 1102508 h 1682495"/>
              <a:gd name="connsiteX80" fmla="*/ 2240661 w 8882887"/>
              <a:gd name="connsiteY80" fmla="*/ 1102508 h 1682495"/>
              <a:gd name="connsiteX81" fmla="*/ 2251302 w 8882887"/>
              <a:gd name="connsiteY81" fmla="*/ 1102508 h 1682495"/>
              <a:gd name="connsiteX82" fmla="*/ 2251302 w 8882887"/>
              <a:gd name="connsiteY82" fmla="*/ 1104129 h 1682495"/>
              <a:gd name="connsiteX83" fmla="*/ 2251302 w 8882887"/>
              <a:gd name="connsiteY83" fmla="*/ 1115478 h 1682495"/>
              <a:gd name="connsiteX84" fmla="*/ 2259282 w 8882887"/>
              <a:gd name="connsiteY84" fmla="*/ 1112489 h 1682495"/>
              <a:gd name="connsiteX85" fmla="*/ 2260422 w 8882887"/>
              <a:gd name="connsiteY85" fmla="*/ 1111019 h 1682495"/>
              <a:gd name="connsiteX86" fmla="*/ 2260422 w 8882887"/>
              <a:gd name="connsiteY86" fmla="*/ 1102508 h 1682495"/>
              <a:gd name="connsiteX87" fmla="*/ 2318183 w 8882887"/>
              <a:gd name="connsiteY87" fmla="*/ 1102508 h 1682495"/>
              <a:gd name="connsiteX88" fmla="*/ 2318183 w 8882887"/>
              <a:gd name="connsiteY88" fmla="*/ 1138176 h 1682495"/>
              <a:gd name="connsiteX89" fmla="*/ 2321222 w 8882887"/>
              <a:gd name="connsiteY89" fmla="*/ 1138176 h 1682495"/>
              <a:gd name="connsiteX90" fmla="*/ 2342502 w 8882887"/>
              <a:gd name="connsiteY90" fmla="*/ 1138176 h 1682495"/>
              <a:gd name="connsiteX91" fmla="*/ 2342502 w 8882887"/>
              <a:gd name="connsiteY91" fmla="*/ 1139798 h 1682495"/>
              <a:gd name="connsiteX92" fmla="*/ 2342502 w 8882887"/>
              <a:gd name="connsiteY92" fmla="*/ 1151147 h 1682495"/>
              <a:gd name="connsiteX93" fmla="*/ 2345163 w 8882887"/>
              <a:gd name="connsiteY93" fmla="*/ 1151147 h 1682495"/>
              <a:gd name="connsiteX94" fmla="*/ 2363783 w 8882887"/>
              <a:gd name="connsiteY94" fmla="*/ 1151147 h 1682495"/>
              <a:gd name="connsiteX95" fmla="*/ 2363783 w 8882887"/>
              <a:gd name="connsiteY95" fmla="*/ 1115478 h 1682495"/>
              <a:gd name="connsiteX96" fmla="*/ 2365302 w 8882887"/>
              <a:gd name="connsiteY96" fmla="*/ 1115478 h 1682495"/>
              <a:gd name="connsiteX97" fmla="*/ 2375943 w 8882887"/>
              <a:gd name="connsiteY97" fmla="*/ 1115478 h 1682495"/>
              <a:gd name="connsiteX98" fmla="*/ 2375943 w 8882887"/>
              <a:gd name="connsiteY98" fmla="*/ 1066838 h 1682495"/>
              <a:gd name="connsiteX99" fmla="*/ 2377463 w 8882887"/>
              <a:gd name="connsiteY99" fmla="*/ 1066838 h 1682495"/>
              <a:gd name="connsiteX100" fmla="*/ 2388104 w 8882887"/>
              <a:gd name="connsiteY100" fmla="*/ 1066838 h 1682495"/>
              <a:gd name="connsiteX101" fmla="*/ 2388104 w 8882887"/>
              <a:gd name="connsiteY101" fmla="*/ 1064001 h 1682495"/>
              <a:gd name="connsiteX102" fmla="*/ 2388104 w 8882887"/>
              <a:gd name="connsiteY102" fmla="*/ 1044140 h 1682495"/>
              <a:gd name="connsiteX103" fmla="*/ 2386203 w 8882887"/>
              <a:gd name="connsiteY103" fmla="*/ 1041707 h 1682495"/>
              <a:gd name="connsiteX104" fmla="*/ 2394183 w 8882887"/>
              <a:gd name="connsiteY104" fmla="*/ 1024683 h 1682495"/>
              <a:gd name="connsiteX105" fmla="*/ 2406344 w 8882887"/>
              <a:gd name="connsiteY105" fmla="*/ 1066838 h 1682495"/>
              <a:gd name="connsiteX106" fmla="*/ 2407484 w 8882887"/>
              <a:gd name="connsiteY106" fmla="*/ 1066838 h 1682495"/>
              <a:gd name="connsiteX107" fmla="*/ 2415464 w 8882887"/>
              <a:gd name="connsiteY107" fmla="*/ 1066838 h 1682495"/>
              <a:gd name="connsiteX108" fmla="*/ 2415464 w 8882887"/>
              <a:gd name="connsiteY108" fmla="*/ 907947 h 1682495"/>
              <a:gd name="connsiteX109" fmla="*/ 2417744 w 8882887"/>
              <a:gd name="connsiteY109" fmla="*/ 907947 h 1682495"/>
              <a:gd name="connsiteX110" fmla="*/ 2433704 w 8882887"/>
              <a:gd name="connsiteY110" fmla="*/ 907947 h 1682495"/>
              <a:gd name="connsiteX111" fmla="*/ 2433704 w 8882887"/>
              <a:gd name="connsiteY111" fmla="*/ 836609 h 1682495"/>
              <a:gd name="connsiteX112" fmla="*/ 2473224 w 8882887"/>
              <a:gd name="connsiteY112" fmla="*/ 836609 h 1682495"/>
              <a:gd name="connsiteX113" fmla="*/ 2473224 w 8882887"/>
              <a:gd name="connsiteY113" fmla="*/ 804182 h 1682495"/>
              <a:gd name="connsiteX114" fmla="*/ 2524905 w 8882887"/>
              <a:gd name="connsiteY114" fmla="*/ 804182 h 1682495"/>
              <a:gd name="connsiteX115" fmla="*/ 2524905 w 8882887"/>
              <a:gd name="connsiteY115" fmla="*/ 807830 h 1682495"/>
              <a:gd name="connsiteX116" fmla="*/ 2524905 w 8882887"/>
              <a:gd name="connsiteY116" fmla="*/ 833366 h 1682495"/>
              <a:gd name="connsiteX117" fmla="*/ 2528325 w 8882887"/>
              <a:gd name="connsiteY117" fmla="*/ 833366 h 1682495"/>
              <a:gd name="connsiteX118" fmla="*/ 2552265 w 8882887"/>
              <a:gd name="connsiteY118" fmla="*/ 833366 h 1682495"/>
              <a:gd name="connsiteX119" fmla="*/ 2552265 w 8882887"/>
              <a:gd name="connsiteY119" fmla="*/ 904704 h 1682495"/>
              <a:gd name="connsiteX120" fmla="*/ 2553785 w 8882887"/>
              <a:gd name="connsiteY120" fmla="*/ 904704 h 1682495"/>
              <a:gd name="connsiteX121" fmla="*/ 2564426 w 8882887"/>
              <a:gd name="connsiteY121" fmla="*/ 904704 h 1682495"/>
              <a:gd name="connsiteX122" fmla="*/ 2585706 w 8882887"/>
              <a:gd name="connsiteY122" fmla="*/ 911190 h 1682495"/>
              <a:gd name="connsiteX123" fmla="*/ 2585706 w 8882887"/>
              <a:gd name="connsiteY123" fmla="*/ 969558 h 1682495"/>
              <a:gd name="connsiteX124" fmla="*/ 2587226 w 8882887"/>
              <a:gd name="connsiteY124" fmla="*/ 969558 h 1682495"/>
              <a:gd name="connsiteX125" fmla="*/ 2597865 w 8882887"/>
              <a:gd name="connsiteY125" fmla="*/ 969558 h 1682495"/>
              <a:gd name="connsiteX126" fmla="*/ 2597865 w 8882887"/>
              <a:gd name="connsiteY126" fmla="*/ 971990 h 1682495"/>
              <a:gd name="connsiteX127" fmla="*/ 2597865 w 8882887"/>
              <a:gd name="connsiteY127" fmla="*/ 989013 h 1682495"/>
              <a:gd name="connsiteX128" fmla="*/ 2600906 w 8882887"/>
              <a:gd name="connsiteY128" fmla="*/ 989013 h 1682495"/>
              <a:gd name="connsiteX129" fmla="*/ 2622186 w 8882887"/>
              <a:gd name="connsiteY129" fmla="*/ 989013 h 1682495"/>
              <a:gd name="connsiteX130" fmla="*/ 2631306 w 8882887"/>
              <a:gd name="connsiteY130" fmla="*/ 998742 h 1682495"/>
              <a:gd name="connsiteX131" fmla="*/ 2631306 w 8882887"/>
              <a:gd name="connsiteY131" fmla="*/ 1031169 h 1682495"/>
              <a:gd name="connsiteX132" fmla="*/ 2634726 w 8882887"/>
              <a:gd name="connsiteY132" fmla="*/ 1031169 h 1682495"/>
              <a:gd name="connsiteX133" fmla="*/ 2658666 w 8882887"/>
              <a:gd name="connsiteY133" fmla="*/ 1031169 h 1682495"/>
              <a:gd name="connsiteX134" fmla="*/ 2658666 w 8882887"/>
              <a:gd name="connsiteY134" fmla="*/ 1032789 h 1682495"/>
              <a:gd name="connsiteX135" fmla="*/ 2658666 w 8882887"/>
              <a:gd name="connsiteY135" fmla="*/ 1044140 h 1682495"/>
              <a:gd name="connsiteX136" fmla="*/ 2660567 w 8882887"/>
              <a:gd name="connsiteY136" fmla="*/ 1044140 h 1682495"/>
              <a:gd name="connsiteX137" fmla="*/ 2673867 w 8882887"/>
              <a:gd name="connsiteY137" fmla="*/ 1044140 h 1682495"/>
              <a:gd name="connsiteX138" fmla="*/ 2673867 w 8882887"/>
              <a:gd name="connsiteY138" fmla="*/ 1047381 h 1682495"/>
              <a:gd name="connsiteX139" fmla="*/ 2673867 w 8882887"/>
              <a:gd name="connsiteY139" fmla="*/ 1070081 h 1682495"/>
              <a:gd name="connsiteX140" fmla="*/ 2679947 w 8882887"/>
              <a:gd name="connsiteY140" fmla="*/ 1067243 h 1682495"/>
              <a:gd name="connsiteX141" fmla="*/ 2679947 w 8882887"/>
              <a:gd name="connsiteY141" fmla="*/ 1047381 h 1682495"/>
              <a:gd name="connsiteX142" fmla="*/ 2681466 w 8882887"/>
              <a:gd name="connsiteY142" fmla="*/ 1047381 h 1682495"/>
              <a:gd name="connsiteX143" fmla="*/ 2692107 w 8882887"/>
              <a:gd name="connsiteY143" fmla="*/ 1047381 h 1682495"/>
              <a:gd name="connsiteX144" fmla="*/ 2692107 w 8882887"/>
              <a:gd name="connsiteY144" fmla="*/ 1049814 h 1682495"/>
              <a:gd name="connsiteX145" fmla="*/ 2692107 w 8882887"/>
              <a:gd name="connsiteY145" fmla="*/ 1066838 h 1682495"/>
              <a:gd name="connsiteX146" fmla="*/ 2693247 w 8882887"/>
              <a:gd name="connsiteY146" fmla="*/ 1066838 h 1682495"/>
              <a:gd name="connsiteX147" fmla="*/ 2701227 w 8882887"/>
              <a:gd name="connsiteY147" fmla="*/ 1066838 h 1682495"/>
              <a:gd name="connsiteX148" fmla="*/ 2774187 w 8882887"/>
              <a:gd name="connsiteY148" fmla="*/ 1060353 h 1682495"/>
              <a:gd name="connsiteX149" fmla="*/ 2774187 w 8882887"/>
              <a:gd name="connsiteY149" fmla="*/ 1062380 h 1682495"/>
              <a:gd name="connsiteX150" fmla="*/ 2774187 w 8882887"/>
              <a:gd name="connsiteY150" fmla="*/ 1076565 h 1682495"/>
              <a:gd name="connsiteX151" fmla="*/ 2775327 w 8882887"/>
              <a:gd name="connsiteY151" fmla="*/ 1076565 h 1682495"/>
              <a:gd name="connsiteX152" fmla="*/ 2783309 w 8882887"/>
              <a:gd name="connsiteY152" fmla="*/ 1076565 h 1682495"/>
              <a:gd name="connsiteX153" fmla="*/ 2783309 w 8882887"/>
              <a:gd name="connsiteY153" fmla="*/ 1079808 h 1682495"/>
              <a:gd name="connsiteX154" fmla="*/ 2783309 w 8882887"/>
              <a:gd name="connsiteY154" fmla="*/ 1102508 h 1682495"/>
              <a:gd name="connsiteX155" fmla="*/ 2786348 w 8882887"/>
              <a:gd name="connsiteY155" fmla="*/ 1100481 h 1682495"/>
              <a:gd name="connsiteX156" fmla="*/ 2807628 w 8882887"/>
              <a:gd name="connsiteY156" fmla="*/ 1086294 h 1682495"/>
              <a:gd name="connsiteX157" fmla="*/ 2816748 w 8882887"/>
              <a:gd name="connsiteY157" fmla="*/ 1024683 h 1682495"/>
              <a:gd name="connsiteX158" fmla="*/ 2817888 w 8882887"/>
              <a:gd name="connsiteY158" fmla="*/ 1024278 h 1682495"/>
              <a:gd name="connsiteX159" fmla="*/ 2825868 w 8882887"/>
              <a:gd name="connsiteY159" fmla="*/ 1021440 h 1682495"/>
              <a:gd name="connsiteX160" fmla="*/ 2828909 w 8882887"/>
              <a:gd name="connsiteY160" fmla="*/ 917675 h 1682495"/>
              <a:gd name="connsiteX161" fmla="*/ 2831949 w 8882887"/>
              <a:gd name="connsiteY161" fmla="*/ 1021440 h 1682495"/>
              <a:gd name="connsiteX162" fmla="*/ 2833089 w 8882887"/>
              <a:gd name="connsiteY162" fmla="*/ 1021845 h 1682495"/>
              <a:gd name="connsiteX163" fmla="*/ 2841069 w 8882887"/>
              <a:gd name="connsiteY163" fmla="*/ 1024683 h 1682495"/>
              <a:gd name="connsiteX164" fmla="*/ 2841069 w 8882887"/>
              <a:gd name="connsiteY164" fmla="*/ 894977 h 1682495"/>
              <a:gd name="connsiteX165" fmla="*/ 2847149 w 8882887"/>
              <a:gd name="connsiteY165" fmla="*/ 846336 h 1682495"/>
              <a:gd name="connsiteX166" fmla="*/ 2904909 w 8882887"/>
              <a:gd name="connsiteY166" fmla="*/ 846336 h 1682495"/>
              <a:gd name="connsiteX167" fmla="*/ 2904909 w 8882887"/>
              <a:gd name="connsiteY167" fmla="*/ 894977 h 1682495"/>
              <a:gd name="connsiteX168" fmla="*/ 2906049 w 8882887"/>
              <a:gd name="connsiteY168" fmla="*/ 894977 h 1682495"/>
              <a:gd name="connsiteX169" fmla="*/ 2914029 w 8882887"/>
              <a:gd name="connsiteY169" fmla="*/ 894977 h 1682495"/>
              <a:gd name="connsiteX170" fmla="*/ 2914029 w 8882887"/>
              <a:gd name="connsiteY170" fmla="*/ 771755 h 1682495"/>
              <a:gd name="connsiteX171" fmla="*/ 2916690 w 8882887"/>
              <a:gd name="connsiteY171" fmla="*/ 771755 h 1682495"/>
              <a:gd name="connsiteX172" fmla="*/ 2935310 w 8882887"/>
              <a:gd name="connsiteY172" fmla="*/ 771755 h 1682495"/>
              <a:gd name="connsiteX173" fmla="*/ 2935310 w 8882887"/>
              <a:gd name="connsiteY173" fmla="*/ 768918 h 1682495"/>
              <a:gd name="connsiteX174" fmla="*/ 2935310 w 8882887"/>
              <a:gd name="connsiteY174" fmla="*/ 749057 h 1682495"/>
              <a:gd name="connsiteX175" fmla="*/ 2968751 w 8882887"/>
              <a:gd name="connsiteY175" fmla="*/ 749057 h 1682495"/>
              <a:gd name="connsiteX176" fmla="*/ 2968751 w 8882887"/>
              <a:gd name="connsiteY176" fmla="*/ 747435 h 1682495"/>
              <a:gd name="connsiteX177" fmla="*/ 2968751 w 8882887"/>
              <a:gd name="connsiteY177" fmla="*/ 736086 h 1682495"/>
              <a:gd name="connsiteX178" fmla="*/ 2971410 w 8882887"/>
              <a:gd name="connsiteY178" fmla="*/ 736086 h 1682495"/>
              <a:gd name="connsiteX179" fmla="*/ 2990031 w 8882887"/>
              <a:gd name="connsiteY179" fmla="*/ 736086 h 1682495"/>
              <a:gd name="connsiteX180" fmla="*/ 2990031 w 8882887"/>
              <a:gd name="connsiteY180" fmla="*/ 737708 h 1682495"/>
              <a:gd name="connsiteX181" fmla="*/ 2990031 w 8882887"/>
              <a:gd name="connsiteY181" fmla="*/ 749057 h 1682495"/>
              <a:gd name="connsiteX182" fmla="*/ 2991171 w 8882887"/>
              <a:gd name="connsiteY182" fmla="*/ 749057 h 1682495"/>
              <a:gd name="connsiteX183" fmla="*/ 2999151 w 8882887"/>
              <a:gd name="connsiteY183" fmla="*/ 749057 h 1682495"/>
              <a:gd name="connsiteX184" fmla="*/ 3014351 w 8882887"/>
              <a:gd name="connsiteY184" fmla="*/ 742571 h 1682495"/>
              <a:gd name="connsiteX185" fmla="*/ 3020430 w 8882887"/>
              <a:gd name="connsiteY185" fmla="*/ 747435 h 1682495"/>
              <a:gd name="connsiteX186" fmla="*/ 3020430 w 8882887"/>
              <a:gd name="connsiteY186" fmla="*/ 736086 h 1682495"/>
              <a:gd name="connsiteX187" fmla="*/ 3023850 w 8882887"/>
              <a:gd name="connsiteY187" fmla="*/ 736086 h 1682495"/>
              <a:gd name="connsiteX188" fmla="*/ 3047792 w 8882887"/>
              <a:gd name="connsiteY188" fmla="*/ 736086 h 1682495"/>
              <a:gd name="connsiteX189" fmla="*/ 3047792 w 8882887"/>
              <a:gd name="connsiteY189" fmla="*/ 737708 h 1682495"/>
              <a:gd name="connsiteX190" fmla="*/ 3047792 w 8882887"/>
              <a:gd name="connsiteY190" fmla="*/ 749057 h 1682495"/>
              <a:gd name="connsiteX191" fmla="*/ 3093392 w 8882887"/>
              <a:gd name="connsiteY191" fmla="*/ 749057 h 1682495"/>
              <a:gd name="connsiteX192" fmla="*/ 3093392 w 8882887"/>
              <a:gd name="connsiteY192" fmla="*/ 751488 h 1682495"/>
              <a:gd name="connsiteX193" fmla="*/ 3093392 w 8882887"/>
              <a:gd name="connsiteY193" fmla="*/ 768513 h 1682495"/>
              <a:gd name="connsiteX194" fmla="*/ 3132912 w 8882887"/>
              <a:gd name="connsiteY194" fmla="*/ 768513 h 1682495"/>
              <a:gd name="connsiteX195" fmla="*/ 3132912 w 8882887"/>
              <a:gd name="connsiteY195" fmla="*/ 813909 h 1682495"/>
              <a:gd name="connsiteX196" fmla="*/ 3134052 w 8882887"/>
              <a:gd name="connsiteY196" fmla="*/ 813909 h 1682495"/>
              <a:gd name="connsiteX197" fmla="*/ 3142032 w 8882887"/>
              <a:gd name="connsiteY197" fmla="*/ 813909 h 1682495"/>
              <a:gd name="connsiteX198" fmla="*/ 3142032 w 8882887"/>
              <a:gd name="connsiteY198" fmla="*/ 815531 h 1682495"/>
              <a:gd name="connsiteX199" fmla="*/ 3142032 w 8882887"/>
              <a:gd name="connsiteY199" fmla="*/ 826881 h 1682495"/>
              <a:gd name="connsiteX200" fmla="*/ 3148113 w 8882887"/>
              <a:gd name="connsiteY200" fmla="*/ 872277 h 1682495"/>
              <a:gd name="connsiteX201" fmla="*/ 3149253 w 8882887"/>
              <a:gd name="connsiteY201" fmla="*/ 872277 h 1682495"/>
              <a:gd name="connsiteX202" fmla="*/ 3157233 w 8882887"/>
              <a:gd name="connsiteY202" fmla="*/ 872277 h 1682495"/>
              <a:gd name="connsiteX203" fmla="*/ 3157233 w 8882887"/>
              <a:gd name="connsiteY203" fmla="*/ 873494 h 1682495"/>
              <a:gd name="connsiteX204" fmla="*/ 3157233 w 8882887"/>
              <a:gd name="connsiteY204" fmla="*/ 882006 h 1682495"/>
              <a:gd name="connsiteX205" fmla="*/ 3158753 w 8882887"/>
              <a:gd name="connsiteY205" fmla="*/ 882006 h 1682495"/>
              <a:gd name="connsiteX206" fmla="*/ 3169392 w 8882887"/>
              <a:gd name="connsiteY206" fmla="*/ 882006 h 1682495"/>
              <a:gd name="connsiteX207" fmla="*/ 3169392 w 8882887"/>
              <a:gd name="connsiteY207" fmla="*/ 927404 h 1682495"/>
              <a:gd name="connsiteX208" fmla="*/ 3172433 w 8882887"/>
              <a:gd name="connsiteY208" fmla="*/ 927404 h 1682495"/>
              <a:gd name="connsiteX209" fmla="*/ 3193713 w 8882887"/>
              <a:gd name="connsiteY209" fmla="*/ 927404 h 1682495"/>
              <a:gd name="connsiteX210" fmla="*/ 3193713 w 8882887"/>
              <a:gd name="connsiteY210" fmla="*/ 963072 h 1682495"/>
              <a:gd name="connsiteX211" fmla="*/ 3196754 w 8882887"/>
              <a:gd name="connsiteY211" fmla="*/ 965504 h 1682495"/>
              <a:gd name="connsiteX212" fmla="*/ 3196754 w 8882887"/>
              <a:gd name="connsiteY212" fmla="*/ 982529 h 1682495"/>
              <a:gd name="connsiteX213" fmla="*/ 3197894 w 8882887"/>
              <a:gd name="connsiteY213" fmla="*/ 982529 h 1682495"/>
              <a:gd name="connsiteX214" fmla="*/ 3205874 w 8882887"/>
              <a:gd name="connsiteY214" fmla="*/ 982529 h 1682495"/>
              <a:gd name="connsiteX215" fmla="*/ 3205874 w 8882887"/>
              <a:gd name="connsiteY215" fmla="*/ 1018197 h 1682495"/>
              <a:gd name="connsiteX216" fmla="*/ 3207773 w 8882887"/>
              <a:gd name="connsiteY216" fmla="*/ 1018197 h 1682495"/>
              <a:gd name="connsiteX217" fmla="*/ 3221073 w 8882887"/>
              <a:gd name="connsiteY217" fmla="*/ 1018197 h 1682495"/>
              <a:gd name="connsiteX218" fmla="*/ 3224114 w 8882887"/>
              <a:gd name="connsiteY218" fmla="*/ 1024278 h 1682495"/>
              <a:gd name="connsiteX219" fmla="*/ 3224114 w 8882887"/>
              <a:gd name="connsiteY219" fmla="*/ 1044140 h 1682495"/>
              <a:gd name="connsiteX220" fmla="*/ 3226394 w 8882887"/>
              <a:gd name="connsiteY220" fmla="*/ 1041302 h 1682495"/>
              <a:gd name="connsiteX221" fmla="*/ 3242354 w 8882887"/>
              <a:gd name="connsiteY221" fmla="*/ 1021440 h 1682495"/>
              <a:gd name="connsiteX222" fmla="*/ 3284915 w 8882887"/>
              <a:gd name="connsiteY222" fmla="*/ 1021440 h 1682495"/>
              <a:gd name="connsiteX223" fmla="*/ 3284915 w 8882887"/>
              <a:gd name="connsiteY223" fmla="*/ 1151147 h 1682495"/>
              <a:gd name="connsiteX224" fmla="*/ 3286055 w 8882887"/>
              <a:gd name="connsiteY224" fmla="*/ 1151147 h 1682495"/>
              <a:gd name="connsiteX225" fmla="*/ 3294035 w 8882887"/>
              <a:gd name="connsiteY225" fmla="*/ 1151147 h 1682495"/>
              <a:gd name="connsiteX226" fmla="*/ 3295175 w 8882887"/>
              <a:gd name="connsiteY226" fmla="*/ 1149120 h 1682495"/>
              <a:gd name="connsiteX227" fmla="*/ 3303155 w 8882887"/>
              <a:gd name="connsiteY227" fmla="*/ 1134933 h 1682495"/>
              <a:gd name="connsiteX228" fmla="*/ 3303155 w 8882887"/>
              <a:gd name="connsiteY228" fmla="*/ 1137771 h 1682495"/>
              <a:gd name="connsiteX229" fmla="*/ 3303155 w 8882887"/>
              <a:gd name="connsiteY229" fmla="*/ 1157633 h 1682495"/>
              <a:gd name="connsiteX230" fmla="*/ 3309234 w 8882887"/>
              <a:gd name="connsiteY230" fmla="*/ 1089537 h 1682495"/>
              <a:gd name="connsiteX231" fmla="*/ 3310374 w 8882887"/>
              <a:gd name="connsiteY231" fmla="*/ 1089537 h 1682495"/>
              <a:gd name="connsiteX232" fmla="*/ 3318354 w 8882887"/>
              <a:gd name="connsiteY232" fmla="*/ 1089537 h 1682495"/>
              <a:gd name="connsiteX233" fmla="*/ 3318354 w 8882887"/>
              <a:gd name="connsiteY233" fmla="*/ 992256 h 1682495"/>
              <a:gd name="connsiteX234" fmla="*/ 3319875 w 8882887"/>
              <a:gd name="connsiteY234" fmla="*/ 992256 h 1682495"/>
              <a:gd name="connsiteX235" fmla="*/ 3330515 w 8882887"/>
              <a:gd name="connsiteY235" fmla="*/ 992256 h 1682495"/>
              <a:gd name="connsiteX236" fmla="*/ 3348755 w 8882887"/>
              <a:gd name="connsiteY236" fmla="*/ 927404 h 1682495"/>
              <a:gd name="connsiteX237" fmla="*/ 3350655 w 8882887"/>
              <a:gd name="connsiteY237" fmla="*/ 927404 h 1682495"/>
              <a:gd name="connsiteX238" fmla="*/ 3363956 w 8882887"/>
              <a:gd name="connsiteY238" fmla="*/ 927404 h 1682495"/>
              <a:gd name="connsiteX239" fmla="*/ 3379155 w 8882887"/>
              <a:gd name="connsiteY239" fmla="*/ 992256 h 1682495"/>
              <a:gd name="connsiteX240" fmla="*/ 3380675 w 8882887"/>
              <a:gd name="connsiteY240" fmla="*/ 992256 h 1682495"/>
              <a:gd name="connsiteX241" fmla="*/ 3391316 w 8882887"/>
              <a:gd name="connsiteY241" fmla="*/ 992256 h 1682495"/>
              <a:gd name="connsiteX242" fmla="*/ 3391316 w 8882887"/>
              <a:gd name="connsiteY242" fmla="*/ 1050624 h 1682495"/>
              <a:gd name="connsiteX243" fmla="*/ 3393975 w 8882887"/>
              <a:gd name="connsiteY243" fmla="*/ 1050624 h 1682495"/>
              <a:gd name="connsiteX244" fmla="*/ 3412596 w 8882887"/>
              <a:gd name="connsiteY244" fmla="*/ 1050624 h 1682495"/>
              <a:gd name="connsiteX245" fmla="*/ 3412596 w 8882887"/>
              <a:gd name="connsiteY245" fmla="*/ 1053867 h 1682495"/>
              <a:gd name="connsiteX246" fmla="*/ 3412596 w 8882887"/>
              <a:gd name="connsiteY246" fmla="*/ 1076565 h 1682495"/>
              <a:gd name="connsiteX247" fmla="*/ 3418676 w 8882887"/>
              <a:gd name="connsiteY247" fmla="*/ 1073324 h 1682495"/>
              <a:gd name="connsiteX248" fmla="*/ 3418676 w 8882887"/>
              <a:gd name="connsiteY248" fmla="*/ 1050624 h 1682495"/>
              <a:gd name="connsiteX249" fmla="*/ 3420956 w 8882887"/>
              <a:gd name="connsiteY249" fmla="*/ 1050624 h 1682495"/>
              <a:gd name="connsiteX250" fmla="*/ 3436916 w 8882887"/>
              <a:gd name="connsiteY250" fmla="*/ 1050624 h 1682495"/>
              <a:gd name="connsiteX251" fmla="*/ 3436916 w 8882887"/>
              <a:gd name="connsiteY251" fmla="*/ 1053056 h 1682495"/>
              <a:gd name="connsiteX252" fmla="*/ 3436916 w 8882887"/>
              <a:gd name="connsiteY252" fmla="*/ 1070081 h 1682495"/>
              <a:gd name="connsiteX253" fmla="*/ 3482517 w 8882887"/>
              <a:gd name="connsiteY253" fmla="*/ 1070081 h 1682495"/>
              <a:gd name="connsiteX254" fmla="*/ 3482517 w 8882887"/>
              <a:gd name="connsiteY254" fmla="*/ 1014956 h 1682495"/>
              <a:gd name="connsiteX255" fmla="*/ 3484416 w 8882887"/>
              <a:gd name="connsiteY255" fmla="*/ 1014956 h 1682495"/>
              <a:gd name="connsiteX256" fmla="*/ 3497717 w 8882887"/>
              <a:gd name="connsiteY256" fmla="*/ 1014956 h 1682495"/>
              <a:gd name="connsiteX257" fmla="*/ 3497717 w 8882887"/>
              <a:gd name="connsiteY257" fmla="*/ 1047381 h 1682495"/>
              <a:gd name="connsiteX258" fmla="*/ 3500757 w 8882887"/>
              <a:gd name="connsiteY258" fmla="*/ 998742 h 1682495"/>
              <a:gd name="connsiteX259" fmla="*/ 3534197 w 8882887"/>
              <a:gd name="connsiteY259" fmla="*/ 998742 h 1682495"/>
              <a:gd name="connsiteX260" fmla="*/ 3534197 w 8882887"/>
              <a:gd name="connsiteY260" fmla="*/ 996309 h 1682495"/>
              <a:gd name="connsiteX261" fmla="*/ 3534197 w 8882887"/>
              <a:gd name="connsiteY261" fmla="*/ 979286 h 1682495"/>
              <a:gd name="connsiteX262" fmla="*/ 3535337 w 8882887"/>
              <a:gd name="connsiteY262" fmla="*/ 979286 h 1682495"/>
              <a:gd name="connsiteX263" fmla="*/ 3543317 w 8882887"/>
              <a:gd name="connsiteY263" fmla="*/ 979286 h 1682495"/>
              <a:gd name="connsiteX264" fmla="*/ 3543317 w 8882887"/>
              <a:gd name="connsiteY264" fmla="*/ 976449 h 1682495"/>
              <a:gd name="connsiteX265" fmla="*/ 3543317 w 8882887"/>
              <a:gd name="connsiteY265" fmla="*/ 956588 h 1682495"/>
              <a:gd name="connsiteX266" fmla="*/ 3549398 w 8882887"/>
              <a:gd name="connsiteY266" fmla="*/ 966315 h 1682495"/>
              <a:gd name="connsiteX267" fmla="*/ 3552818 w 8882887"/>
              <a:gd name="connsiteY267" fmla="*/ 966315 h 1682495"/>
              <a:gd name="connsiteX268" fmla="*/ 3576758 w 8882887"/>
              <a:gd name="connsiteY268" fmla="*/ 966315 h 1682495"/>
              <a:gd name="connsiteX269" fmla="*/ 3576758 w 8882887"/>
              <a:gd name="connsiteY269" fmla="*/ 965099 h 1682495"/>
              <a:gd name="connsiteX270" fmla="*/ 3576758 w 8882887"/>
              <a:gd name="connsiteY270" fmla="*/ 956588 h 1682495"/>
              <a:gd name="connsiteX271" fmla="*/ 3577898 w 8882887"/>
              <a:gd name="connsiteY271" fmla="*/ 956588 h 1682495"/>
              <a:gd name="connsiteX272" fmla="*/ 3585878 w 8882887"/>
              <a:gd name="connsiteY272" fmla="*/ 956588 h 1682495"/>
              <a:gd name="connsiteX273" fmla="*/ 3585878 w 8882887"/>
              <a:gd name="connsiteY273" fmla="*/ 958614 h 1682495"/>
              <a:gd name="connsiteX274" fmla="*/ 3585878 w 8882887"/>
              <a:gd name="connsiteY274" fmla="*/ 972801 h 1682495"/>
              <a:gd name="connsiteX275" fmla="*/ 3643638 w 8882887"/>
              <a:gd name="connsiteY275" fmla="*/ 972801 h 1682495"/>
              <a:gd name="connsiteX276" fmla="*/ 3643638 w 8882887"/>
              <a:gd name="connsiteY276" fmla="*/ 1180331 h 1682495"/>
              <a:gd name="connsiteX277" fmla="*/ 3645918 w 8882887"/>
              <a:gd name="connsiteY277" fmla="*/ 1180331 h 1682495"/>
              <a:gd name="connsiteX278" fmla="*/ 3661878 w 8882887"/>
              <a:gd name="connsiteY278" fmla="*/ 1180331 h 1682495"/>
              <a:gd name="connsiteX279" fmla="*/ 3661878 w 8882887"/>
              <a:gd name="connsiteY279" fmla="*/ 1160876 h 1682495"/>
              <a:gd name="connsiteX280" fmla="*/ 3667959 w 8882887"/>
              <a:gd name="connsiteY280" fmla="*/ 1160876 h 1682495"/>
              <a:gd name="connsiteX281" fmla="*/ 3667959 w 8882887"/>
              <a:gd name="connsiteY281" fmla="*/ 1180331 h 1682495"/>
              <a:gd name="connsiteX282" fmla="*/ 3713559 w 8882887"/>
              <a:gd name="connsiteY282" fmla="*/ 1180331 h 1682495"/>
              <a:gd name="connsiteX283" fmla="*/ 3713559 w 8882887"/>
              <a:gd name="connsiteY283" fmla="*/ 1134933 h 1682495"/>
              <a:gd name="connsiteX284" fmla="*/ 3731799 w 8882887"/>
              <a:gd name="connsiteY284" fmla="*/ 1134933 h 1682495"/>
              <a:gd name="connsiteX285" fmla="*/ 3750039 w 8882887"/>
              <a:gd name="connsiteY285" fmla="*/ 1131692 h 1682495"/>
              <a:gd name="connsiteX286" fmla="*/ 3756120 w 8882887"/>
              <a:gd name="connsiteY286" fmla="*/ 1134933 h 1682495"/>
              <a:gd name="connsiteX287" fmla="*/ 3771320 w 8882887"/>
              <a:gd name="connsiteY287" fmla="*/ 1134933 h 1682495"/>
              <a:gd name="connsiteX288" fmla="*/ 3771320 w 8882887"/>
              <a:gd name="connsiteY288" fmla="*/ 1180331 h 1682495"/>
              <a:gd name="connsiteX289" fmla="*/ 3783480 w 8882887"/>
              <a:gd name="connsiteY289" fmla="*/ 1180331 h 1682495"/>
              <a:gd name="connsiteX290" fmla="*/ 3783480 w 8882887"/>
              <a:gd name="connsiteY290" fmla="*/ 1206273 h 1682495"/>
              <a:gd name="connsiteX291" fmla="*/ 3797484 w 8882887"/>
              <a:gd name="connsiteY291" fmla="*/ 1207631 h 1682495"/>
              <a:gd name="connsiteX292" fmla="*/ 3816921 w 8882887"/>
              <a:gd name="connsiteY292" fmla="*/ 1207631 h 1682495"/>
              <a:gd name="connsiteX293" fmla="*/ 3816921 w 8882887"/>
              <a:gd name="connsiteY293" fmla="*/ 1183574 h 1682495"/>
              <a:gd name="connsiteX294" fmla="*/ 3918855 w 8882887"/>
              <a:gd name="connsiteY294" fmla="*/ 1183574 h 1682495"/>
              <a:gd name="connsiteX295" fmla="*/ 3918855 w 8882887"/>
              <a:gd name="connsiteY295" fmla="*/ 1055694 h 1682495"/>
              <a:gd name="connsiteX296" fmla="*/ 4026867 w 8882887"/>
              <a:gd name="connsiteY296" fmla="*/ 1055694 h 1682495"/>
              <a:gd name="connsiteX297" fmla="*/ 4026867 w 8882887"/>
              <a:gd name="connsiteY297" fmla="*/ 1173846 h 1682495"/>
              <a:gd name="connsiteX298" fmla="*/ 4029723 w 8882887"/>
              <a:gd name="connsiteY298" fmla="*/ 1173846 h 1682495"/>
              <a:gd name="connsiteX299" fmla="*/ 4031586 w 8882887"/>
              <a:gd name="connsiteY299" fmla="*/ 1207631 h 1682495"/>
              <a:gd name="connsiteX300" fmla="*/ 4046100 w 8882887"/>
              <a:gd name="connsiteY300" fmla="*/ 1207631 h 1682495"/>
              <a:gd name="connsiteX301" fmla="*/ 4047963 w 8882887"/>
              <a:gd name="connsiteY301" fmla="*/ 1173846 h 1682495"/>
              <a:gd name="connsiteX302" fmla="*/ 4057083 w 8882887"/>
              <a:gd name="connsiteY302" fmla="*/ 1173846 h 1682495"/>
              <a:gd name="connsiteX303" fmla="*/ 4058946 w 8882887"/>
              <a:gd name="connsiteY303" fmla="*/ 1207631 h 1682495"/>
              <a:gd name="connsiteX304" fmla="*/ 4134879 w 8882887"/>
              <a:gd name="connsiteY304" fmla="*/ 1207631 h 1682495"/>
              <a:gd name="connsiteX305" fmla="*/ 4134879 w 8882887"/>
              <a:gd name="connsiteY305" fmla="*/ 963089 h 1682495"/>
              <a:gd name="connsiteX306" fmla="*/ 4430870 w 8882887"/>
              <a:gd name="connsiteY306" fmla="*/ 963089 h 1682495"/>
              <a:gd name="connsiteX307" fmla="*/ 4430870 w 8882887"/>
              <a:gd name="connsiteY307" fmla="*/ 1207631 h 1682495"/>
              <a:gd name="connsiteX308" fmla="*/ 4458915 w 8882887"/>
              <a:gd name="connsiteY308" fmla="*/ 1207631 h 1682495"/>
              <a:gd name="connsiteX309" fmla="*/ 4458915 w 8882887"/>
              <a:gd name="connsiteY309" fmla="*/ 1083591 h 1682495"/>
              <a:gd name="connsiteX310" fmla="*/ 4601595 w 8882887"/>
              <a:gd name="connsiteY310" fmla="*/ 1083591 h 1682495"/>
              <a:gd name="connsiteX311" fmla="*/ 4619491 w 8882887"/>
              <a:gd name="connsiteY311" fmla="*/ 606380 h 1682495"/>
              <a:gd name="connsiteX312" fmla="*/ 4601251 w 8882887"/>
              <a:gd name="connsiteY312" fmla="*/ 573953 h 1682495"/>
              <a:gd name="connsiteX313" fmla="*/ 4592131 w 8882887"/>
              <a:gd name="connsiteY313" fmla="*/ 567467 h 1682495"/>
              <a:gd name="connsiteX314" fmla="*/ 4604291 w 8882887"/>
              <a:gd name="connsiteY314" fmla="*/ 531798 h 1682495"/>
              <a:gd name="connsiteX315" fmla="*/ 4604291 w 8882887"/>
              <a:gd name="connsiteY315" fmla="*/ 505857 h 1682495"/>
              <a:gd name="connsiteX316" fmla="*/ 4625571 w 8882887"/>
              <a:gd name="connsiteY316" fmla="*/ 505857 h 1682495"/>
              <a:gd name="connsiteX317" fmla="*/ 4625571 w 8882887"/>
              <a:gd name="connsiteY317" fmla="*/ 473430 h 1682495"/>
              <a:gd name="connsiteX318" fmla="*/ 4628611 w 8882887"/>
              <a:gd name="connsiteY318" fmla="*/ 466944 h 1682495"/>
              <a:gd name="connsiteX319" fmla="*/ 4628611 w 8882887"/>
              <a:gd name="connsiteY319" fmla="*/ 350208 h 1682495"/>
              <a:gd name="connsiteX320" fmla="*/ 4625571 w 8882887"/>
              <a:gd name="connsiteY320" fmla="*/ 340481 h 1682495"/>
              <a:gd name="connsiteX321" fmla="*/ 4634691 w 8882887"/>
              <a:gd name="connsiteY321" fmla="*/ 330752 h 1682495"/>
              <a:gd name="connsiteX322" fmla="*/ 4634691 w 8882887"/>
              <a:gd name="connsiteY322" fmla="*/ 243200 h 1682495"/>
              <a:gd name="connsiteX323" fmla="*/ 4637731 w 8882887"/>
              <a:gd name="connsiteY323" fmla="*/ 236715 h 1682495"/>
              <a:gd name="connsiteX324" fmla="*/ 4637731 w 8882887"/>
              <a:gd name="connsiteY324" fmla="*/ 152406 h 1682495"/>
              <a:gd name="connsiteX325" fmla="*/ 4640771 w 8882887"/>
              <a:gd name="connsiteY325" fmla="*/ 123222 h 1682495"/>
              <a:gd name="connsiteX326" fmla="*/ 4646851 w 8882887"/>
              <a:gd name="connsiteY326" fmla="*/ 149163 h 1682495"/>
              <a:gd name="connsiteX327" fmla="*/ 4649891 w 8882887"/>
              <a:gd name="connsiteY327" fmla="*/ 236715 h 1682495"/>
              <a:gd name="connsiteX328" fmla="*/ 4652931 w 8882887"/>
              <a:gd name="connsiteY328" fmla="*/ 330752 h 1682495"/>
              <a:gd name="connsiteX329" fmla="*/ 4662051 w 8882887"/>
              <a:gd name="connsiteY329" fmla="*/ 340481 h 1682495"/>
              <a:gd name="connsiteX330" fmla="*/ 4659011 w 8882887"/>
              <a:gd name="connsiteY330" fmla="*/ 350208 h 1682495"/>
              <a:gd name="connsiteX331" fmla="*/ 4659011 w 8882887"/>
              <a:gd name="connsiteY331" fmla="*/ 466944 h 1682495"/>
              <a:gd name="connsiteX332" fmla="*/ 4662051 w 8882887"/>
              <a:gd name="connsiteY332" fmla="*/ 473430 h 1682495"/>
              <a:gd name="connsiteX333" fmla="*/ 4662051 w 8882887"/>
              <a:gd name="connsiteY333" fmla="*/ 505857 h 1682495"/>
              <a:gd name="connsiteX334" fmla="*/ 4683331 w 8882887"/>
              <a:gd name="connsiteY334" fmla="*/ 505857 h 1682495"/>
              <a:gd name="connsiteX335" fmla="*/ 4683331 w 8882887"/>
              <a:gd name="connsiteY335" fmla="*/ 531798 h 1682495"/>
              <a:gd name="connsiteX336" fmla="*/ 4695493 w 8882887"/>
              <a:gd name="connsiteY336" fmla="*/ 567467 h 1682495"/>
              <a:gd name="connsiteX337" fmla="*/ 4686373 w 8882887"/>
              <a:gd name="connsiteY337" fmla="*/ 573953 h 1682495"/>
              <a:gd name="connsiteX338" fmla="*/ 4668131 w 8882887"/>
              <a:gd name="connsiteY338" fmla="*/ 606380 h 1682495"/>
              <a:gd name="connsiteX339" fmla="*/ 4680291 w 8882887"/>
              <a:gd name="connsiteY339" fmla="*/ 985772 h 1682495"/>
              <a:gd name="connsiteX340" fmla="*/ 4777573 w 8882887"/>
              <a:gd name="connsiteY340" fmla="*/ 985772 h 1682495"/>
              <a:gd name="connsiteX341" fmla="*/ 4777573 w 8882887"/>
              <a:gd name="connsiteY341" fmla="*/ 1099265 h 1682495"/>
              <a:gd name="connsiteX342" fmla="*/ 4789733 w 8882887"/>
              <a:gd name="connsiteY342" fmla="*/ 1099265 h 1682495"/>
              <a:gd name="connsiteX343" fmla="*/ 4792773 w 8882887"/>
              <a:gd name="connsiteY343" fmla="*/ 1089537 h 1682495"/>
              <a:gd name="connsiteX344" fmla="*/ 4801893 w 8882887"/>
              <a:gd name="connsiteY344" fmla="*/ 1089537 h 1682495"/>
              <a:gd name="connsiteX345" fmla="*/ 4804935 w 8882887"/>
              <a:gd name="connsiteY345" fmla="*/ 1102508 h 1682495"/>
              <a:gd name="connsiteX346" fmla="*/ 4823175 w 8882887"/>
              <a:gd name="connsiteY346" fmla="*/ 1102508 h 1682495"/>
              <a:gd name="connsiteX347" fmla="*/ 4823175 w 8882887"/>
              <a:gd name="connsiteY347" fmla="*/ 1092779 h 1682495"/>
              <a:gd name="connsiteX348" fmla="*/ 4856613 w 8882887"/>
              <a:gd name="connsiteY348" fmla="*/ 1092779 h 1682495"/>
              <a:gd name="connsiteX349" fmla="*/ 4856613 w 8882887"/>
              <a:gd name="connsiteY349" fmla="*/ 1102508 h 1682495"/>
              <a:gd name="connsiteX350" fmla="*/ 4887015 w 8882887"/>
              <a:gd name="connsiteY350" fmla="*/ 1102508 h 1682495"/>
              <a:gd name="connsiteX351" fmla="*/ 4887015 w 8882887"/>
              <a:gd name="connsiteY351" fmla="*/ 1170603 h 1682495"/>
              <a:gd name="connsiteX352" fmla="*/ 4908295 w 8882887"/>
              <a:gd name="connsiteY352" fmla="*/ 1170603 h 1682495"/>
              <a:gd name="connsiteX353" fmla="*/ 4908295 w 8882887"/>
              <a:gd name="connsiteY353" fmla="*/ 1151147 h 1682495"/>
              <a:gd name="connsiteX354" fmla="*/ 4932615 w 8882887"/>
              <a:gd name="connsiteY354" fmla="*/ 1151147 h 1682495"/>
              <a:gd name="connsiteX355" fmla="*/ 4932615 w 8882887"/>
              <a:gd name="connsiteY355" fmla="*/ 882006 h 1682495"/>
              <a:gd name="connsiteX356" fmla="*/ 4941735 w 8882887"/>
              <a:gd name="connsiteY356" fmla="*/ 872277 h 1682495"/>
              <a:gd name="connsiteX357" fmla="*/ 5051177 w 8882887"/>
              <a:gd name="connsiteY357" fmla="*/ 872277 h 1682495"/>
              <a:gd name="connsiteX358" fmla="*/ 5051177 w 8882887"/>
              <a:gd name="connsiteY358" fmla="*/ 885249 h 1682495"/>
              <a:gd name="connsiteX359" fmla="*/ 5066377 w 8882887"/>
              <a:gd name="connsiteY359" fmla="*/ 885249 h 1682495"/>
              <a:gd name="connsiteX360" fmla="*/ 5066377 w 8882887"/>
              <a:gd name="connsiteY360" fmla="*/ 1057110 h 1682495"/>
              <a:gd name="connsiteX361" fmla="*/ 5099817 w 8882887"/>
              <a:gd name="connsiteY361" fmla="*/ 1057110 h 1682495"/>
              <a:gd name="connsiteX362" fmla="*/ 5099817 w 8882887"/>
              <a:gd name="connsiteY362" fmla="*/ 956588 h 1682495"/>
              <a:gd name="connsiteX363" fmla="*/ 5139339 w 8882887"/>
              <a:gd name="connsiteY363" fmla="*/ 956588 h 1682495"/>
              <a:gd name="connsiteX364" fmla="*/ 5145417 w 8882887"/>
              <a:gd name="connsiteY364" fmla="*/ 950102 h 1682495"/>
              <a:gd name="connsiteX365" fmla="*/ 5157579 w 8882887"/>
              <a:gd name="connsiteY365" fmla="*/ 950102 h 1682495"/>
              <a:gd name="connsiteX366" fmla="*/ 5163657 w 8882887"/>
              <a:gd name="connsiteY366" fmla="*/ 956588 h 1682495"/>
              <a:gd name="connsiteX367" fmla="*/ 5197099 w 8882887"/>
              <a:gd name="connsiteY367" fmla="*/ 956588 h 1682495"/>
              <a:gd name="connsiteX368" fmla="*/ 5197099 w 8882887"/>
              <a:gd name="connsiteY368" fmla="*/ 781484 h 1682495"/>
              <a:gd name="connsiteX369" fmla="*/ 5282219 w 8882887"/>
              <a:gd name="connsiteY369" fmla="*/ 765270 h 1682495"/>
              <a:gd name="connsiteX370" fmla="*/ 5282219 w 8882887"/>
              <a:gd name="connsiteY370" fmla="*/ 766892 h 1682495"/>
              <a:gd name="connsiteX371" fmla="*/ 5282219 w 8882887"/>
              <a:gd name="connsiteY371" fmla="*/ 778241 h 1682495"/>
              <a:gd name="connsiteX372" fmla="*/ 5321739 w 8882887"/>
              <a:gd name="connsiteY372" fmla="*/ 778241 h 1682495"/>
              <a:gd name="connsiteX373" fmla="*/ 5321739 w 8882887"/>
              <a:gd name="connsiteY373" fmla="*/ 1160876 h 1682495"/>
              <a:gd name="connsiteX374" fmla="*/ 5355181 w 8882887"/>
              <a:gd name="connsiteY374" fmla="*/ 1160876 h 1682495"/>
              <a:gd name="connsiteX375" fmla="*/ 5355181 w 8882887"/>
              <a:gd name="connsiteY375" fmla="*/ 1154390 h 1682495"/>
              <a:gd name="connsiteX376" fmla="*/ 5373421 w 8882887"/>
              <a:gd name="connsiteY376" fmla="*/ 1154390 h 1682495"/>
              <a:gd name="connsiteX377" fmla="*/ 5373421 w 8882887"/>
              <a:gd name="connsiteY377" fmla="*/ 1160876 h 1682495"/>
              <a:gd name="connsiteX378" fmla="*/ 5409901 w 8882887"/>
              <a:gd name="connsiteY378" fmla="*/ 1160876 h 1682495"/>
              <a:gd name="connsiteX379" fmla="*/ 5409901 w 8882887"/>
              <a:gd name="connsiteY379" fmla="*/ 1141419 h 1682495"/>
              <a:gd name="connsiteX380" fmla="*/ 5452461 w 8882887"/>
              <a:gd name="connsiteY380" fmla="*/ 1141419 h 1682495"/>
              <a:gd name="connsiteX381" fmla="*/ 5470701 w 8882887"/>
              <a:gd name="connsiteY381" fmla="*/ 1134933 h 1682495"/>
              <a:gd name="connsiteX382" fmla="*/ 5501103 w 8882887"/>
              <a:gd name="connsiteY382" fmla="*/ 1141419 h 1682495"/>
              <a:gd name="connsiteX383" fmla="*/ 5501103 w 8882887"/>
              <a:gd name="connsiteY383" fmla="*/ 1115478 h 1682495"/>
              <a:gd name="connsiteX384" fmla="*/ 5513263 w 8882887"/>
              <a:gd name="connsiteY384" fmla="*/ 1115478 h 1682495"/>
              <a:gd name="connsiteX385" fmla="*/ 5513263 w 8882887"/>
              <a:gd name="connsiteY385" fmla="*/ 1096022 h 1682495"/>
              <a:gd name="connsiteX386" fmla="*/ 5598383 w 8882887"/>
              <a:gd name="connsiteY386" fmla="*/ 1096022 h 1682495"/>
              <a:gd name="connsiteX387" fmla="*/ 5598383 w 8882887"/>
              <a:gd name="connsiteY387" fmla="*/ 1050624 h 1682495"/>
              <a:gd name="connsiteX388" fmla="*/ 5625743 w 8882887"/>
              <a:gd name="connsiteY388" fmla="*/ 1050624 h 1682495"/>
              <a:gd name="connsiteX389" fmla="*/ 5625743 w 8882887"/>
              <a:gd name="connsiteY389" fmla="*/ 1040897 h 1682495"/>
              <a:gd name="connsiteX390" fmla="*/ 5643983 w 8882887"/>
              <a:gd name="connsiteY390" fmla="*/ 1040897 h 1682495"/>
              <a:gd name="connsiteX391" fmla="*/ 5643983 w 8882887"/>
              <a:gd name="connsiteY391" fmla="*/ 1050624 h 1682495"/>
              <a:gd name="connsiteX392" fmla="*/ 5668303 w 8882887"/>
              <a:gd name="connsiteY392" fmla="*/ 1050624 h 1682495"/>
              <a:gd name="connsiteX393" fmla="*/ 5668303 w 8882887"/>
              <a:gd name="connsiteY393" fmla="*/ 1125206 h 1682495"/>
              <a:gd name="connsiteX394" fmla="*/ 5716945 w 8882887"/>
              <a:gd name="connsiteY394" fmla="*/ 1125206 h 1682495"/>
              <a:gd name="connsiteX395" fmla="*/ 5716945 w 8882887"/>
              <a:gd name="connsiteY395" fmla="*/ 1086294 h 1682495"/>
              <a:gd name="connsiteX396" fmla="*/ 5774705 w 8882887"/>
              <a:gd name="connsiteY396" fmla="*/ 1086294 h 1682495"/>
              <a:gd name="connsiteX397" fmla="*/ 5774705 w 8882887"/>
              <a:gd name="connsiteY397" fmla="*/ 1040897 h 1682495"/>
              <a:gd name="connsiteX398" fmla="*/ 5847667 w 8882887"/>
              <a:gd name="connsiteY398" fmla="*/ 1040897 h 1682495"/>
              <a:gd name="connsiteX399" fmla="*/ 5847667 w 8882887"/>
              <a:gd name="connsiteY399" fmla="*/ 1207631 h 1682495"/>
              <a:gd name="connsiteX400" fmla="*/ 5847667 w 8882887"/>
              <a:gd name="connsiteY400" fmla="*/ 1228299 h 1682495"/>
              <a:gd name="connsiteX401" fmla="*/ 5946479 w 8882887"/>
              <a:gd name="connsiteY401" fmla="*/ 1228299 h 1682495"/>
              <a:gd name="connsiteX402" fmla="*/ 5946479 w 8882887"/>
              <a:gd name="connsiteY402" fmla="*/ 1386957 h 1682495"/>
              <a:gd name="connsiteX403" fmla="*/ 5946479 w 8882887"/>
              <a:gd name="connsiteY403" fmla="*/ 1421828 h 1682495"/>
              <a:gd name="connsiteX404" fmla="*/ 5968919 w 8882887"/>
              <a:gd name="connsiteY404" fmla="*/ 1421828 h 1682495"/>
              <a:gd name="connsiteX405" fmla="*/ 5968919 w 8882887"/>
              <a:gd name="connsiteY405" fmla="*/ 1420085 h 1682495"/>
              <a:gd name="connsiteX406" fmla="*/ 5968919 w 8882887"/>
              <a:gd name="connsiteY406" fmla="*/ 1407881 h 1682495"/>
              <a:gd name="connsiteX407" fmla="*/ 6035789 w 8882887"/>
              <a:gd name="connsiteY407" fmla="*/ 1407881 h 1682495"/>
              <a:gd name="connsiteX408" fmla="*/ 6035789 w 8882887"/>
              <a:gd name="connsiteY408" fmla="*/ 1439262 h 1682495"/>
              <a:gd name="connsiteX409" fmla="*/ 6039131 w 8882887"/>
              <a:gd name="connsiteY409" fmla="*/ 1441007 h 1682495"/>
              <a:gd name="connsiteX410" fmla="*/ 6062537 w 8882887"/>
              <a:gd name="connsiteY410" fmla="*/ 1453211 h 1682495"/>
              <a:gd name="connsiteX411" fmla="*/ 6062537 w 8882887"/>
              <a:gd name="connsiteY411" fmla="*/ 1498541 h 1682495"/>
              <a:gd name="connsiteX412" fmla="*/ 6064627 w 8882887"/>
              <a:gd name="connsiteY412" fmla="*/ 1499414 h 1682495"/>
              <a:gd name="connsiteX413" fmla="*/ 6079255 w 8882887"/>
              <a:gd name="connsiteY413" fmla="*/ 1505516 h 1682495"/>
              <a:gd name="connsiteX414" fmla="*/ 6079255 w 8882887"/>
              <a:gd name="connsiteY414" fmla="*/ 1503773 h 1682495"/>
              <a:gd name="connsiteX415" fmla="*/ 6079255 w 8882887"/>
              <a:gd name="connsiteY415" fmla="*/ 1491567 h 1682495"/>
              <a:gd name="connsiteX416" fmla="*/ 6080927 w 8882887"/>
              <a:gd name="connsiteY416" fmla="*/ 1491567 h 1682495"/>
              <a:gd name="connsiteX417" fmla="*/ 6092629 w 8882887"/>
              <a:gd name="connsiteY417" fmla="*/ 1491567 h 1682495"/>
              <a:gd name="connsiteX418" fmla="*/ 6092629 w 8882887"/>
              <a:gd name="connsiteY418" fmla="*/ 1490259 h 1682495"/>
              <a:gd name="connsiteX419" fmla="*/ 6092629 w 8882887"/>
              <a:gd name="connsiteY419" fmla="*/ 1481106 h 1682495"/>
              <a:gd name="connsiteX420" fmla="*/ 6090957 w 8882887"/>
              <a:gd name="connsiteY420" fmla="*/ 1481106 h 1682495"/>
              <a:gd name="connsiteX421" fmla="*/ 6079255 w 8882887"/>
              <a:gd name="connsiteY421" fmla="*/ 1481106 h 1682495"/>
              <a:gd name="connsiteX422" fmla="*/ 6079255 w 8882887"/>
              <a:gd name="connsiteY422" fmla="*/ 1479363 h 1682495"/>
              <a:gd name="connsiteX423" fmla="*/ 6079255 w 8882887"/>
              <a:gd name="connsiteY423" fmla="*/ 1467159 h 1682495"/>
              <a:gd name="connsiteX424" fmla="*/ 6080927 w 8882887"/>
              <a:gd name="connsiteY424" fmla="*/ 1467159 h 1682495"/>
              <a:gd name="connsiteX425" fmla="*/ 6092629 w 8882887"/>
              <a:gd name="connsiteY425" fmla="*/ 1467159 h 1682495"/>
              <a:gd name="connsiteX426" fmla="*/ 6092629 w 8882887"/>
              <a:gd name="connsiteY426" fmla="*/ 1465415 h 1682495"/>
              <a:gd name="connsiteX427" fmla="*/ 6092629 w 8882887"/>
              <a:gd name="connsiteY427" fmla="*/ 1453211 h 1682495"/>
              <a:gd name="connsiteX428" fmla="*/ 6090957 w 8882887"/>
              <a:gd name="connsiteY428" fmla="*/ 1453211 h 1682495"/>
              <a:gd name="connsiteX429" fmla="*/ 6079255 w 8882887"/>
              <a:gd name="connsiteY429" fmla="*/ 1453211 h 1682495"/>
              <a:gd name="connsiteX430" fmla="*/ 6079255 w 8882887"/>
              <a:gd name="connsiteY430" fmla="*/ 1451468 h 1682495"/>
              <a:gd name="connsiteX431" fmla="*/ 6079255 w 8882887"/>
              <a:gd name="connsiteY431" fmla="*/ 1439262 h 1682495"/>
              <a:gd name="connsiteX432" fmla="*/ 6080927 w 8882887"/>
              <a:gd name="connsiteY432" fmla="*/ 1439262 h 1682495"/>
              <a:gd name="connsiteX433" fmla="*/ 6092629 w 8882887"/>
              <a:gd name="connsiteY433" fmla="*/ 1439262 h 1682495"/>
              <a:gd name="connsiteX434" fmla="*/ 6092629 w 8882887"/>
              <a:gd name="connsiteY434" fmla="*/ 1437956 h 1682495"/>
              <a:gd name="connsiteX435" fmla="*/ 6092629 w 8882887"/>
              <a:gd name="connsiteY435" fmla="*/ 1428803 h 1682495"/>
              <a:gd name="connsiteX436" fmla="*/ 6090957 w 8882887"/>
              <a:gd name="connsiteY436" fmla="*/ 1428803 h 1682495"/>
              <a:gd name="connsiteX437" fmla="*/ 6079255 w 8882887"/>
              <a:gd name="connsiteY437" fmla="*/ 1428803 h 1682495"/>
              <a:gd name="connsiteX438" fmla="*/ 6079255 w 8882887"/>
              <a:gd name="connsiteY438" fmla="*/ 1427058 h 1682495"/>
              <a:gd name="connsiteX439" fmla="*/ 6079255 w 8882887"/>
              <a:gd name="connsiteY439" fmla="*/ 1414854 h 1682495"/>
              <a:gd name="connsiteX440" fmla="*/ 6080927 w 8882887"/>
              <a:gd name="connsiteY440" fmla="*/ 1414854 h 1682495"/>
              <a:gd name="connsiteX441" fmla="*/ 6092629 w 8882887"/>
              <a:gd name="connsiteY441" fmla="*/ 1414854 h 1682495"/>
              <a:gd name="connsiteX442" fmla="*/ 6092629 w 8882887"/>
              <a:gd name="connsiteY442" fmla="*/ 1413111 h 1682495"/>
              <a:gd name="connsiteX443" fmla="*/ 6092629 w 8882887"/>
              <a:gd name="connsiteY443" fmla="*/ 1400906 h 1682495"/>
              <a:gd name="connsiteX444" fmla="*/ 6090957 w 8882887"/>
              <a:gd name="connsiteY444" fmla="*/ 1400906 h 1682495"/>
              <a:gd name="connsiteX445" fmla="*/ 6079255 w 8882887"/>
              <a:gd name="connsiteY445" fmla="*/ 1400906 h 1682495"/>
              <a:gd name="connsiteX446" fmla="*/ 6079255 w 8882887"/>
              <a:gd name="connsiteY446" fmla="*/ 1399599 h 1682495"/>
              <a:gd name="connsiteX447" fmla="*/ 6079255 w 8882887"/>
              <a:gd name="connsiteY447" fmla="*/ 1390445 h 1682495"/>
              <a:gd name="connsiteX448" fmla="*/ 6080927 w 8882887"/>
              <a:gd name="connsiteY448" fmla="*/ 1390445 h 1682495"/>
              <a:gd name="connsiteX449" fmla="*/ 6092629 w 8882887"/>
              <a:gd name="connsiteY449" fmla="*/ 1390445 h 1682495"/>
              <a:gd name="connsiteX450" fmla="*/ 6092629 w 8882887"/>
              <a:gd name="connsiteY450" fmla="*/ 1388702 h 1682495"/>
              <a:gd name="connsiteX451" fmla="*/ 6092629 w 8882887"/>
              <a:gd name="connsiteY451" fmla="*/ 1376498 h 1682495"/>
              <a:gd name="connsiteX452" fmla="*/ 6090957 w 8882887"/>
              <a:gd name="connsiteY452" fmla="*/ 1376498 h 1682495"/>
              <a:gd name="connsiteX453" fmla="*/ 6079255 w 8882887"/>
              <a:gd name="connsiteY453" fmla="*/ 1376498 h 1682495"/>
              <a:gd name="connsiteX454" fmla="*/ 6079255 w 8882887"/>
              <a:gd name="connsiteY454" fmla="*/ 1374755 h 1682495"/>
              <a:gd name="connsiteX455" fmla="*/ 6079255 w 8882887"/>
              <a:gd name="connsiteY455" fmla="*/ 1362549 h 1682495"/>
              <a:gd name="connsiteX456" fmla="*/ 6080927 w 8882887"/>
              <a:gd name="connsiteY456" fmla="*/ 1362549 h 1682495"/>
              <a:gd name="connsiteX457" fmla="*/ 6092629 w 8882887"/>
              <a:gd name="connsiteY457" fmla="*/ 1362549 h 1682495"/>
              <a:gd name="connsiteX458" fmla="*/ 6092629 w 8882887"/>
              <a:gd name="connsiteY458" fmla="*/ 1360806 h 1682495"/>
              <a:gd name="connsiteX459" fmla="*/ 6092629 w 8882887"/>
              <a:gd name="connsiteY459" fmla="*/ 1348602 h 1682495"/>
              <a:gd name="connsiteX460" fmla="*/ 6090957 w 8882887"/>
              <a:gd name="connsiteY460" fmla="*/ 1348602 h 1682495"/>
              <a:gd name="connsiteX461" fmla="*/ 6079255 w 8882887"/>
              <a:gd name="connsiteY461" fmla="*/ 1348602 h 1682495"/>
              <a:gd name="connsiteX462" fmla="*/ 6079255 w 8882887"/>
              <a:gd name="connsiteY462" fmla="*/ 1347294 h 1682495"/>
              <a:gd name="connsiteX463" fmla="*/ 6079255 w 8882887"/>
              <a:gd name="connsiteY463" fmla="*/ 1338141 h 1682495"/>
              <a:gd name="connsiteX464" fmla="*/ 6080927 w 8882887"/>
              <a:gd name="connsiteY464" fmla="*/ 1338141 h 1682495"/>
              <a:gd name="connsiteX465" fmla="*/ 6092629 w 8882887"/>
              <a:gd name="connsiteY465" fmla="*/ 1338141 h 1682495"/>
              <a:gd name="connsiteX466" fmla="*/ 6092629 w 8882887"/>
              <a:gd name="connsiteY466" fmla="*/ 1336397 h 1682495"/>
              <a:gd name="connsiteX467" fmla="*/ 6092629 w 8882887"/>
              <a:gd name="connsiteY467" fmla="*/ 1324193 h 1682495"/>
              <a:gd name="connsiteX468" fmla="*/ 6090957 w 8882887"/>
              <a:gd name="connsiteY468" fmla="*/ 1324193 h 1682495"/>
              <a:gd name="connsiteX469" fmla="*/ 6079255 w 8882887"/>
              <a:gd name="connsiteY469" fmla="*/ 1324193 h 1682495"/>
              <a:gd name="connsiteX470" fmla="*/ 6079255 w 8882887"/>
              <a:gd name="connsiteY470" fmla="*/ 1322450 h 1682495"/>
              <a:gd name="connsiteX471" fmla="*/ 6079255 w 8882887"/>
              <a:gd name="connsiteY471" fmla="*/ 1310244 h 1682495"/>
              <a:gd name="connsiteX472" fmla="*/ 6080927 w 8882887"/>
              <a:gd name="connsiteY472" fmla="*/ 1310244 h 1682495"/>
              <a:gd name="connsiteX473" fmla="*/ 6092629 w 8882887"/>
              <a:gd name="connsiteY473" fmla="*/ 1310244 h 1682495"/>
              <a:gd name="connsiteX474" fmla="*/ 6092629 w 8882887"/>
              <a:gd name="connsiteY474" fmla="*/ 1308938 h 1682495"/>
              <a:gd name="connsiteX475" fmla="*/ 6092629 w 8882887"/>
              <a:gd name="connsiteY475" fmla="*/ 1299785 h 1682495"/>
              <a:gd name="connsiteX476" fmla="*/ 6090957 w 8882887"/>
              <a:gd name="connsiteY476" fmla="*/ 1299785 h 1682495"/>
              <a:gd name="connsiteX477" fmla="*/ 6079255 w 8882887"/>
              <a:gd name="connsiteY477" fmla="*/ 1299785 h 1682495"/>
              <a:gd name="connsiteX478" fmla="*/ 6079255 w 8882887"/>
              <a:gd name="connsiteY478" fmla="*/ 1298040 h 1682495"/>
              <a:gd name="connsiteX479" fmla="*/ 6079255 w 8882887"/>
              <a:gd name="connsiteY479" fmla="*/ 1285836 h 1682495"/>
              <a:gd name="connsiteX480" fmla="*/ 6080927 w 8882887"/>
              <a:gd name="connsiteY480" fmla="*/ 1285836 h 1682495"/>
              <a:gd name="connsiteX481" fmla="*/ 6092629 w 8882887"/>
              <a:gd name="connsiteY481" fmla="*/ 1285836 h 1682495"/>
              <a:gd name="connsiteX482" fmla="*/ 6092629 w 8882887"/>
              <a:gd name="connsiteY482" fmla="*/ 1284093 h 1682495"/>
              <a:gd name="connsiteX483" fmla="*/ 6092629 w 8882887"/>
              <a:gd name="connsiteY483" fmla="*/ 1271888 h 1682495"/>
              <a:gd name="connsiteX484" fmla="*/ 6090957 w 8882887"/>
              <a:gd name="connsiteY484" fmla="*/ 1271888 h 1682495"/>
              <a:gd name="connsiteX485" fmla="*/ 6079255 w 8882887"/>
              <a:gd name="connsiteY485" fmla="*/ 1271888 h 1682495"/>
              <a:gd name="connsiteX486" fmla="*/ 6079255 w 8882887"/>
              <a:gd name="connsiteY486" fmla="*/ 1270145 h 1682495"/>
              <a:gd name="connsiteX487" fmla="*/ 6079255 w 8882887"/>
              <a:gd name="connsiteY487" fmla="*/ 1257941 h 1682495"/>
              <a:gd name="connsiteX488" fmla="*/ 6080927 w 8882887"/>
              <a:gd name="connsiteY488" fmla="*/ 1257941 h 1682495"/>
              <a:gd name="connsiteX489" fmla="*/ 6092629 w 8882887"/>
              <a:gd name="connsiteY489" fmla="*/ 1257941 h 1682495"/>
              <a:gd name="connsiteX490" fmla="*/ 6092629 w 8882887"/>
              <a:gd name="connsiteY490" fmla="*/ 1256633 h 1682495"/>
              <a:gd name="connsiteX491" fmla="*/ 6092629 w 8882887"/>
              <a:gd name="connsiteY491" fmla="*/ 1247480 h 1682495"/>
              <a:gd name="connsiteX492" fmla="*/ 6090957 w 8882887"/>
              <a:gd name="connsiteY492" fmla="*/ 1247480 h 1682495"/>
              <a:gd name="connsiteX493" fmla="*/ 6079255 w 8882887"/>
              <a:gd name="connsiteY493" fmla="*/ 1247480 h 1682495"/>
              <a:gd name="connsiteX494" fmla="*/ 6079255 w 8882887"/>
              <a:gd name="connsiteY494" fmla="*/ 1245737 h 1682495"/>
              <a:gd name="connsiteX495" fmla="*/ 6079255 w 8882887"/>
              <a:gd name="connsiteY495" fmla="*/ 1233531 h 1682495"/>
              <a:gd name="connsiteX496" fmla="*/ 6080927 w 8882887"/>
              <a:gd name="connsiteY496" fmla="*/ 1233531 h 1682495"/>
              <a:gd name="connsiteX497" fmla="*/ 6092629 w 8882887"/>
              <a:gd name="connsiteY497" fmla="*/ 1233531 h 1682495"/>
              <a:gd name="connsiteX498" fmla="*/ 6092629 w 8882887"/>
              <a:gd name="connsiteY498" fmla="*/ 1231788 h 1682495"/>
              <a:gd name="connsiteX499" fmla="*/ 6092629 w 8882887"/>
              <a:gd name="connsiteY499" fmla="*/ 1219584 h 1682495"/>
              <a:gd name="connsiteX500" fmla="*/ 6090957 w 8882887"/>
              <a:gd name="connsiteY500" fmla="*/ 1219584 h 1682495"/>
              <a:gd name="connsiteX501" fmla="*/ 6079255 w 8882887"/>
              <a:gd name="connsiteY501" fmla="*/ 1219584 h 1682495"/>
              <a:gd name="connsiteX502" fmla="*/ 6079255 w 8882887"/>
              <a:gd name="connsiteY502" fmla="*/ 1217840 h 1682495"/>
              <a:gd name="connsiteX503" fmla="*/ 6079255 w 8882887"/>
              <a:gd name="connsiteY503" fmla="*/ 1205636 h 1682495"/>
              <a:gd name="connsiteX504" fmla="*/ 6080927 w 8882887"/>
              <a:gd name="connsiteY504" fmla="*/ 1205636 h 1682495"/>
              <a:gd name="connsiteX505" fmla="*/ 6092629 w 8882887"/>
              <a:gd name="connsiteY505" fmla="*/ 1205636 h 1682495"/>
              <a:gd name="connsiteX506" fmla="*/ 6092629 w 8882887"/>
              <a:gd name="connsiteY506" fmla="*/ 1204328 h 1682495"/>
              <a:gd name="connsiteX507" fmla="*/ 6092629 w 8882887"/>
              <a:gd name="connsiteY507" fmla="*/ 1195175 h 1682495"/>
              <a:gd name="connsiteX508" fmla="*/ 6090957 w 8882887"/>
              <a:gd name="connsiteY508" fmla="*/ 1195175 h 1682495"/>
              <a:gd name="connsiteX509" fmla="*/ 6079255 w 8882887"/>
              <a:gd name="connsiteY509" fmla="*/ 1195175 h 1682495"/>
              <a:gd name="connsiteX510" fmla="*/ 6079255 w 8882887"/>
              <a:gd name="connsiteY510" fmla="*/ 1193432 h 1682495"/>
              <a:gd name="connsiteX511" fmla="*/ 6079255 w 8882887"/>
              <a:gd name="connsiteY511" fmla="*/ 1181226 h 1682495"/>
              <a:gd name="connsiteX512" fmla="*/ 6080927 w 8882887"/>
              <a:gd name="connsiteY512" fmla="*/ 1181226 h 1682495"/>
              <a:gd name="connsiteX513" fmla="*/ 6092629 w 8882887"/>
              <a:gd name="connsiteY513" fmla="*/ 1181226 h 1682495"/>
              <a:gd name="connsiteX514" fmla="*/ 6090957 w 8882887"/>
              <a:gd name="connsiteY514" fmla="*/ 1178612 h 1682495"/>
              <a:gd name="connsiteX515" fmla="*/ 6079255 w 8882887"/>
              <a:gd name="connsiteY515" fmla="*/ 1160306 h 1682495"/>
              <a:gd name="connsiteX516" fmla="*/ 6079255 w 8882887"/>
              <a:gd name="connsiteY516" fmla="*/ 1104513 h 1682495"/>
              <a:gd name="connsiteX517" fmla="*/ 6303271 w 8882887"/>
              <a:gd name="connsiteY517" fmla="*/ 1104513 h 1682495"/>
              <a:gd name="connsiteX518" fmla="*/ 6323331 w 8882887"/>
              <a:gd name="connsiteY518" fmla="*/ 1135896 h 1682495"/>
              <a:gd name="connsiteX519" fmla="*/ 6323331 w 8882887"/>
              <a:gd name="connsiteY519" fmla="*/ 1205636 h 1682495"/>
              <a:gd name="connsiteX520" fmla="*/ 6321659 w 8882887"/>
              <a:gd name="connsiteY520" fmla="*/ 1205636 h 1682495"/>
              <a:gd name="connsiteX521" fmla="*/ 6309957 w 8882887"/>
              <a:gd name="connsiteY521" fmla="*/ 1205636 h 1682495"/>
              <a:gd name="connsiteX522" fmla="*/ 6309957 w 8882887"/>
              <a:gd name="connsiteY522" fmla="*/ 1207379 h 1682495"/>
              <a:gd name="connsiteX523" fmla="*/ 6309957 w 8882887"/>
              <a:gd name="connsiteY523" fmla="*/ 1219584 h 1682495"/>
              <a:gd name="connsiteX524" fmla="*/ 6311629 w 8882887"/>
              <a:gd name="connsiteY524" fmla="*/ 1219584 h 1682495"/>
              <a:gd name="connsiteX525" fmla="*/ 6323331 w 8882887"/>
              <a:gd name="connsiteY525" fmla="*/ 1219584 h 1682495"/>
              <a:gd name="connsiteX526" fmla="*/ 6323331 w 8882887"/>
              <a:gd name="connsiteY526" fmla="*/ 1221327 h 1682495"/>
              <a:gd name="connsiteX527" fmla="*/ 6323331 w 8882887"/>
              <a:gd name="connsiteY527" fmla="*/ 1233531 h 1682495"/>
              <a:gd name="connsiteX528" fmla="*/ 6321659 w 8882887"/>
              <a:gd name="connsiteY528" fmla="*/ 1233531 h 1682495"/>
              <a:gd name="connsiteX529" fmla="*/ 6309957 w 8882887"/>
              <a:gd name="connsiteY529" fmla="*/ 1233531 h 1682495"/>
              <a:gd name="connsiteX530" fmla="*/ 6309957 w 8882887"/>
              <a:gd name="connsiteY530" fmla="*/ 1235274 h 1682495"/>
              <a:gd name="connsiteX531" fmla="*/ 6309957 w 8882887"/>
              <a:gd name="connsiteY531" fmla="*/ 1247480 h 1682495"/>
              <a:gd name="connsiteX532" fmla="*/ 6311629 w 8882887"/>
              <a:gd name="connsiteY532" fmla="*/ 1247480 h 1682495"/>
              <a:gd name="connsiteX533" fmla="*/ 6323331 w 8882887"/>
              <a:gd name="connsiteY533" fmla="*/ 1247480 h 1682495"/>
              <a:gd name="connsiteX534" fmla="*/ 6323331 w 8882887"/>
              <a:gd name="connsiteY534" fmla="*/ 1248788 h 1682495"/>
              <a:gd name="connsiteX535" fmla="*/ 6323331 w 8882887"/>
              <a:gd name="connsiteY535" fmla="*/ 1257941 h 1682495"/>
              <a:gd name="connsiteX536" fmla="*/ 6321659 w 8882887"/>
              <a:gd name="connsiteY536" fmla="*/ 1257941 h 1682495"/>
              <a:gd name="connsiteX537" fmla="*/ 6309957 w 8882887"/>
              <a:gd name="connsiteY537" fmla="*/ 1257941 h 1682495"/>
              <a:gd name="connsiteX538" fmla="*/ 6309957 w 8882887"/>
              <a:gd name="connsiteY538" fmla="*/ 1259684 h 1682495"/>
              <a:gd name="connsiteX539" fmla="*/ 6309957 w 8882887"/>
              <a:gd name="connsiteY539" fmla="*/ 1271888 h 1682495"/>
              <a:gd name="connsiteX540" fmla="*/ 6311629 w 8882887"/>
              <a:gd name="connsiteY540" fmla="*/ 1271888 h 1682495"/>
              <a:gd name="connsiteX541" fmla="*/ 6323331 w 8882887"/>
              <a:gd name="connsiteY541" fmla="*/ 1271888 h 1682495"/>
              <a:gd name="connsiteX542" fmla="*/ 6323331 w 8882887"/>
              <a:gd name="connsiteY542" fmla="*/ 1273632 h 1682495"/>
              <a:gd name="connsiteX543" fmla="*/ 6323331 w 8882887"/>
              <a:gd name="connsiteY543" fmla="*/ 1285836 h 1682495"/>
              <a:gd name="connsiteX544" fmla="*/ 6321659 w 8882887"/>
              <a:gd name="connsiteY544" fmla="*/ 1285836 h 1682495"/>
              <a:gd name="connsiteX545" fmla="*/ 6309957 w 8882887"/>
              <a:gd name="connsiteY545" fmla="*/ 1285836 h 1682495"/>
              <a:gd name="connsiteX546" fmla="*/ 6309957 w 8882887"/>
              <a:gd name="connsiteY546" fmla="*/ 1287579 h 1682495"/>
              <a:gd name="connsiteX547" fmla="*/ 6309957 w 8882887"/>
              <a:gd name="connsiteY547" fmla="*/ 1299785 h 1682495"/>
              <a:gd name="connsiteX548" fmla="*/ 6311629 w 8882887"/>
              <a:gd name="connsiteY548" fmla="*/ 1299785 h 1682495"/>
              <a:gd name="connsiteX549" fmla="*/ 6323331 w 8882887"/>
              <a:gd name="connsiteY549" fmla="*/ 1299785 h 1682495"/>
              <a:gd name="connsiteX550" fmla="*/ 6323331 w 8882887"/>
              <a:gd name="connsiteY550" fmla="*/ 1301091 h 1682495"/>
              <a:gd name="connsiteX551" fmla="*/ 6323331 w 8882887"/>
              <a:gd name="connsiteY551" fmla="*/ 1310244 h 1682495"/>
              <a:gd name="connsiteX552" fmla="*/ 6321659 w 8882887"/>
              <a:gd name="connsiteY552" fmla="*/ 1310244 h 1682495"/>
              <a:gd name="connsiteX553" fmla="*/ 6309957 w 8882887"/>
              <a:gd name="connsiteY553" fmla="*/ 1310244 h 1682495"/>
              <a:gd name="connsiteX554" fmla="*/ 6309957 w 8882887"/>
              <a:gd name="connsiteY554" fmla="*/ 1311989 h 1682495"/>
              <a:gd name="connsiteX555" fmla="*/ 6309957 w 8882887"/>
              <a:gd name="connsiteY555" fmla="*/ 1324193 h 1682495"/>
              <a:gd name="connsiteX556" fmla="*/ 6311629 w 8882887"/>
              <a:gd name="connsiteY556" fmla="*/ 1324193 h 1682495"/>
              <a:gd name="connsiteX557" fmla="*/ 6323331 w 8882887"/>
              <a:gd name="connsiteY557" fmla="*/ 1324193 h 1682495"/>
              <a:gd name="connsiteX558" fmla="*/ 6323331 w 8882887"/>
              <a:gd name="connsiteY558" fmla="*/ 1325936 h 1682495"/>
              <a:gd name="connsiteX559" fmla="*/ 6323331 w 8882887"/>
              <a:gd name="connsiteY559" fmla="*/ 1338141 h 1682495"/>
              <a:gd name="connsiteX560" fmla="*/ 6321659 w 8882887"/>
              <a:gd name="connsiteY560" fmla="*/ 1338141 h 1682495"/>
              <a:gd name="connsiteX561" fmla="*/ 6309957 w 8882887"/>
              <a:gd name="connsiteY561" fmla="*/ 1338141 h 1682495"/>
              <a:gd name="connsiteX562" fmla="*/ 6309957 w 8882887"/>
              <a:gd name="connsiteY562" fmla="*/ 1339448 h 1682495"/>
              <a:gd name="connsiteX563" fmla="*/ 6309957 w 8882887"/>
              <a:gd name="connsiteY563" fmla="*/ 1348602 h 1682495"/>
              <a:gd name="connsiteX564" fmla="*/ 6311629 w 8882887"/>
              <a:gd name="connsiteY564" fmla="*/ 1348602 h 1682495"/>
              <a:gd name="connsiteX565" fmla="*/ 6323331 w 8882887"/>
              <a:gd name="connsiteY565" fmla="*/ 1348602 h 1682495"/>
              <a:gd name="connsiteX566" fmla="*/ 6323331 w 8882887"/>
              <a:gd name="connsiteY566" fmla="*/ 1350345 h 1682495"/>
              <a:gd name="connsiteX567" fmla="*/ 6323331 w 8882887"/>
              <a:gd name="connsiteY567" fmla="*/ 1362549 h 1682495"/>
              <a:gd name="connsiteX568" fmla="*/ 6321659 w 8882887"/>
              <a:gd name="connsiteY568" fmla="*/ 1362549 h 1682495"/>
              <a:gd name="connsiteX569" fmla="*/ 6309957 w 8882887"/>
              <a:gd name="connsiteY569" fmla="*/ 1362549 h 1682495"/>
              <a:gd name="connsiteX570" fmla="*/ 6309957 w 8882887"/>
              <a:gd name="connsiteY570" fmla="*/ 1364292 h 1682495"/>
              <a:gd name="connsiteX571" fmla="*/ 6309957 w 8882887"/>
              <a:gd name="connsiteY571" fmla="*/ 1376498 h 1682495"/>
              <a:gd name="connsiteX572" fmla="*/ 6311629 w 8882887"/>
              <a:gd name="connsiteY572" fmla="*/ 1376498 h 1682495"/>
              <a:gd name="connsiteX573" fmla="*/ 6323331 w 8882887"/>
              <a:gd name="connsiteY573" fmla="*/ 1376498 h 1682495"/>
              <a:gd name="connsiteX574" fmla="*/ 6323331 w 8882887"/>
              <a:gd name="connsiteY574" fmla="*/ 1378241 h 1682495"/>
              <a:gd name="connsiteX575" fmla="*/ 6323331 w 8882887"/>
              <a:gd name="connsiteY575" fmla="*/ 1390445 h 1682495"/>
              <a:gd name="connsiteX576" fmla="*/ 6321659 w 8882887"/>
              <a:gd name="connsiteY576" fmla="*/ 1390445 h 1682495"/>
              <a:gd name="connsiteX577" fmla="*/ 6309957 w 8882887"/>
              <a:gd name="connsiteY577" fmla="*/ 1390445 h 1682495"/>
              <a:gd name="connsiteX578" fmla="*/ 6309957 w 8882887"/>
              <a:gd name="connsiteY578" fmla="*/ 1391753 h 1682495"/>
              <a:gd name="connsiteX579" fmla="*/ 6309957 w 8882887"/>
              <a:gd name="connsiteY579" fmla="*/ 1400906 h 1682495"/>
              <a:gd name="connsiteX580" fmla="*/ 6311629 w 8882887"/>
              <a:gd name="connsiteY580" fmla="*/ 1400906 h 1682495"/>
              <a:gd name="connsiteX581" fmla="*/ 6323331 w 8882887"/>
              <a:gd name="connsiteY581" fmla="*/ 1400906 h 1682495"/>
              <a:gd name="connsiteX582" fmla="*/ 6323331 w 8882887"/>
              <a:gd name="connsiteY582" fmla="*/ 1402650 h 1682495"/>
              <a:gd name="connsiteX583" fmla="*/ 6323331 w 8882887"/>
              <a:gd name="connsiteY583" fmla="*/ 1414854 h 1682495"/>
              <a:gd name="connsiteX584" fmla="*/ 6321659 w 8882887"/>
              <a:gd name="connsiteY584" fmla="*/ 1414854 h 1682495"/>
              <a:gd name="connsiteX585" fmla="*/ 6309957 w 8882887"/>
              <a:gd name="connsiteY585" fmla="*/ 1414854 h 1682495"/>
              <a:gd name="connsiteX586" fmla="*/ 6309957 w 8882887"/>
              <a:gd name="connsiteY586" fmla="*/ 1416597 h 1682495"/>
              <a:gd name="connsiteX587" fmla="*/ 6309957 w 8882887"/>
              <a:gd name="connsiteY587" fmla="*/ 1428803 h 1682495"/>
              <a:gd name="connsiteX588" fmla="*/ 6311629 w 8882887"/>
              <a:gd name="connsiteY588" fmla="*/ 1428803 h 1682495"/>
              <a:gd name="connsiteX589" fmla="*/ 6323331 w 8882887"/>
              <a:gd name="connsiteY589" fmla="*/ 1428803 h 1682495"/>
              <a:gd name="connsiteX590" fmla="*/ 6323331 w 8882887"/>
              <a:gd name="connsiteY590" fmla="*/ 1430109 h 1682495"/>
              <a:gd name="connsiteX591" fmla="*/ 6323331 w 8882887"/>
              <a:gd name="connsiteY591" fmla="*/ 1439262 h 1682495"/>
              <a:gd name="connsiteX592" fmla="*/ 6321659 w 8882887"/>
              <a:gd name="connsiteY592" fmla="*/ 1439262 h 1682495"/>
              <a:gd name="connsiteX593" fmla="*/ 6309957 w 8882887"/>
              <a:gd name="connsiteY593" fmla="*/ 1439262 h 1682495"/>
              <a:gd name="connsiteX594" fmla="*/ 6309957 w 8882887"/>
              <a:gd name="connsiteY594" fmla="*/ 1441007 h 1682495"/>
              <a:gd name="connsiteX595" fmla="*/ 6309957 w 8882887"/>
              <a:gd name="connsiteY595" fmla="*/ 1453211 h 1682495"/>
              <a:gd name="connsiteX596" fmla="*/ 6311629 w 8882887"/>
              <a:gd name="connsiteY596" fmla="*/ 1453211 h 1682495"/>
              <a:gd name="connsiteX597" fmla="*/ 6323331 w 8882887"/>
              <a:gd name="connsiteY597" fmla="*/ 1453211 h 1682495"/>
              <a:gd name="connsiteX598" fmla="*/ 6323331 w 8882887"/>
              <a:gd name="connsiteY598" fmla="*/ 1454954 h 1682495"/>
              <a:gd name="connsiteX599" fmla="*/ 6323331 w 8882887"/>
              <a:gd name="connsiteY599" fmla="*/ 1467159 h 1682495"/>
              <a:gd name="connsiteX600" fmla="*/ 6321659 w 8882887"/>
              <a:gd name="connsiteY600" fmla="*/ 1467159 h 1682495"/>
              <a:gd name="connsiteX601" fmla="*/ 6309957 w 8882887"/>
              <a:gd name="connsiteY601" fmla="*/ 1467159 h 1682495"/>
              <a:gd name="connsiteX602" fmla="*/ 6309957 w 8882887"/>
              <a:gd name="connsiteY602" fmla="*/ 1468902 h 1682495"/>
              <a:gd name="connsiteX603" fmla="*/ 6309957 w 8882887"/>
              <a:gd name="connsiteY603" fmla="*/ 1481106 h 1682495"/>
              <a:gd name="connsiteX604" fmla="*/ 6311629 w 8882887"/>
              <a:gd name="connsiteY604" fmla="*/ 1481106 h 1682495"/>
              <a:gd name="connsiteX605" fmla="*/ 6323331 w 8882887"/>
              <a:gd name="connsiteY605" fmla="*/ 1481106 h 1682495"/>
              <a:gd name="connsiteX606" fmla="*/ 6323331 w 8882887"/>
              <a:gd name="connsiteY606" fmla="*/ 1482414 h 1682495"/>
              <a:gd name="connsiteX607" fmla="*/ 6323331 w 8882887"/>
              <a:gd name="connsiteY607" fmla="*/ 1491567 h 1682495"/>
              <a:gd name="connsiteX608" fmla="*/ 6321659 w 8882887"/>
              <a:gd name="connsiteY608" fmla="*/ 1491567 h 1682495"/>
              <a:gd name="connsiteX609" fmla="*/ 6309957 w 8882887"/>
              <a:gd name="connsiteY609" fmla="*/ 1491567 h 1682495"/>
              <a:gd name="connsiteX610" fmla="*/ 6309957 w 8882887"/>
              <a:gd name="connsiteY610" fmla="*/ 1493310 h 1682495"/>
              <a:gd name="connsiteX611" fmla="*/ 6309957 w 8882887"/>
              <a:gd name="connsiteY611" fmla="*/ 1505516 h 1682495"/>
              <a:gd name="connsiteX612" fmla="*/ 6346735 w 8882887"/>
              <a:gd name="connsiteY612" fmla="*/ 1536899 h 1682495"/>
              <a:gd name="connsiteX613" fmla="*/ 6345065 w 8882887"/>
              <a:gd name="connsiteY613" fmla="*/ 1543872 h 1682495"/>
              <a:gd name="connsiteX614" fmla="*/ 6333361 w 8882887"/>
              <a:gd name="connsiteY614" fmla="*/ 1543872 h 1682495"/>
              <a:gd name="connsiteX615" fmla="*/ 6333361 w 8882887"/>
              <a:gd name="connsiteY615" fmla="*/ 1582229 h 1682495"/>
              <a:gd name="connsiteX616" fmla="*/ 6335035 w 8882887"/>
              <a:gd name="connsiteY616" fmla="*/ 1582229 h 1682495"/>
              <a:gd name="connsiteX617" fmla="*/ 6346735 w 8882887"/>
              <a:gd name="connsiteY617" fmla="*/ 1582229 h 1682495"/>
              <a:gd name="connsiteX618" fmla="*/ 6346735 w 8882887"/>
              <a:gd name="connsiteY618" fmla="*/ 1580049 h 1682495"/>
              <a:gd name="connsiteX619" fmla="*/ 6346735 w 8882887"/>
              <a:gd name="connsiteY619" fmla="*/ 1564794 h 1682495"/>
              <a:gd name="connsiteX620" fmla="*/ 6348407 w 8882887"/>
              <a:gd name="connsiteY620" fmla="*/ 1563923 h 1682495"/>
              <a:gd name="connsiteX621" fmla="*/ 6360109 w 8882887"/>
              <a:gd name="connsiteY621" fmla="*/ 1557821 h 1682495"/>
              <a:gd name="connsiteX622" fmla="*/ 6363035 w 8882887"/>
              <a:gd name="connsiteY622" fmla="*/ 1557821 h 1682495"/>
              <a:gd name="connsiteX623" fmla="*/ 6383515 w 8882887"/>
              <a:gd name="connsiteY623" fmla="*/ 1557821 h 1682495"/>
              <a:gd name="connsiteX624" fmla="*/ 6383515 w 8882887"/>
              <a:gd name="connsiteY624" fmla="*/ 1559564 h 1682495"/>
              <a:gd name="connsiteX625" fmla="*/ 6383515 w 8882887"/>
              <a:gd name="connsiteY625" fmla="*/ 1571768 h 1682495"/>
              <a:gd name="connsiteX626" fmla="*/ 6386023 w 8882887"/>
              <a:gd name="connsiteY626" fmla="*/ 1571768 h 1682495"/>
              <a:gd name="connsiteX627" fmla="*/ 6403577 w 8882887"/>
              <a:gd name="connsiteY627" fmla="*/ 1571768 h 1682495"/>
              <a:gd name="connsiteX628" fmla="*/ 6405247 w 8882887"/>
              <a:gd name="connsiteY628" fmla="*/ 1578741 h 1682495"/>
              <a:gd name="connsiteX629" fmla="*/ 6416951 w 8882887"/>
              <a:gd name="connsiteY629" fmla="*/ 1578741 h 1682495"/>
              <a:gd name="connsiteX630" fmla="*/ 6453729 w 8882887"/>
              <a:gd name="connsiteY630" fmla="*/ 1627559 h 1682495"/>
              <a:gd name="connsiteX631" fmla="*/ 6453729 w 8882887"/>
              <a:gd name="connsiteY631" fmla="*/ 1679864 h 1682495"/>
              <a:gd name="connsiteX632" fmla="*/ 6455399 w 8882887"/>
              <a:gd name="connsiteY632" fmla="*/ 1679864 h 1682495"/>
              <a:gd name="connsiteX633" fmla="*/ 6467103 w 8882887"/>
              <a:gd name="connsiteY633" fmla="*/ 1679864 h 1682495"/>
              <a:gd name="connsiteX634" fmla="*/ 6467103 w 8882887"/>
              <a:gd name="connsiteY634" fmla="*/ 1676813 h 1682495"/>
              <a:gd name="connsiteX635" fmla="*/ 6467103 w 8882887"/>
              <a:gd name="connsiteY635" fmla="*/ 1655456 h 1682495"/>
              <a:gd name="connsiteX636" fmla="*/ 6468357 w 8882887"/>
              <a:gd name="connsiteY636" fmla="*/ 1655456 h 1682495"/>
              <a:gd name="connsiteX637" fmla="*/ 6477133 w 8882887"/>
              <a:gd name="connsiteY637" fmla="*/ 1655456 h 1682495"/>
              <a:gd name="connsiteX638" fmla="*/ 6477133 w 8882887"/>
              <a:gd name="connsiteY638" fmla="*/ 1657199 h 1682495"/>
              <a:gd name="connsiteX639" fmla="*/ 6477133 w 8882887"/>
              <a:gd name="connsiteY639" fmla="*/ 1669403 h 1682495"/>
              <a:gd name="connsiteX640" fmla="*/ 6490507 w 8882887"/>
              <a:gd name="connsiteY640" fmla="*/ 1596177 h 1682495"/>
              <a:gd name="connsiteX641" fmla="*/ 6547347 w 8882887"/>
              <a:gd name="connsiteY641" fmla="*/ 1596177 h 1682495"/>
              <a:gd name="connsiteX642" fmla="*/ 6547347 w 8882887"/>
              <a:gd name="connsiteY642" fmla="*/ 1484594 h 1682495"/>
              <a:gd name="connsiteX643" fmla="*/ 6600843 w 8882887"/>
              <a:gd name="connsiteY643" fmla="*/ 1484594 h 1682495"/>
              <a:gd name="connsiteX644" fmla="*/ 6600843 w 8882887"/>
              <a:gd name="connsiteY644" fmla="*/ 1483286 h 1682495"/>
              <a:gd name="connsiteX645" fmla="*/ 6600843 w 8882887"/>
              <a:gd name="connsiteY645" fmla="*/ 1474133 h 1682495"/>
              <a:gd name="connsiteX646" fmla="*/ 6634279 w 8882887"/>
              <a:gd name="connsiteY646" fmla="*/ 1474133 h 1682495"/>
              <a:gd name="connsiteX647" fmla="*/ 6634279 w 8882887"/>
              <a:gd name="connsiteY647" fmla="*/ 1414854 h 1682495"/>
              <a:gd name="connsiteX648" fmla="*/ 6627591 w 8882887"/>
              <a:gd name="connsiteY648" fmla="*/ 1412238 h 1682495"/>
              <a:gd name="connsiteX649" fmla="*/ 6627591 w 8882887"/>
              <a:gd name="connsiteY649" fmla="*/ 1393932 h 1682495"/>
              <a:gd name="connsiteX650" fmla="*/ 6634279 w 8882887"/>
              <a:gd name="connsiteY650" fmla="*/ 1397420 h 1682495"/>
              <a:gd name="connsiteX651" fmla="*/ 6640967 w 8882887"/>
              <a:gd name="connsiteY651" fmla="*/ 1362549 h 1682495"/>
              <a:gd name="connsiteX652" fmla="*/ 6647653 w 8882887"/>
              <a:gd name="connsiteY652" fmla="*/ 1397420 h 1682495"/>
              <a:gd name="connsiteX653" fmla="*/ 6651415 w 8882887"/>
              <a:gd name="connsiteY653" fmla="*/ 1392624 h 1682495"/>
              <a:gd name="connsiteX654" fmla="*/ 6654341 w 8882887"/>
              <a:gd name="connsiteY654" fmla="*/ 1383471 h 1682495"/>
              <a:gd name="connsiteX655" fmla="*/ 6655175 w 8882887"/>
              <a:gd name="connsiteY655" fmla="*/ 1381728 h 1682495"/>
              <a:gd name="connsiteX656" fmla="*/ 6661027 w 8882887"/>
              <a:gd name="connsiteY656" fmla="*/ 1369523 h 1682495"/>
              <a:gd name="connsiteX657" fmla="*/ 6661863 w 8882887"/>
              <a:gd name="connsiteY657" fmla="*/ 1367780 h 1682495"/>
              <a:gd name="connsiteX658" fmla="*/ 6667715 w 8882887"/>
              <a:gd name="connsiteY658" fmla="*/ 1355576 h 1682495"/>
              <a:gd name="connsiteX659" fmla="*/ 6669803 w 8882887"/>
              <a:gd name="connsiteY659" fmla="*/ 1354268 h 1682495"/>
              <a:gd name="connsiteX660" fmla="*/ 6684431 w 8882887"/>
              <a:gd name="connsiteY660" fmla="*/ 1345115 h 1682495"/>
              <a:gd name="connsiteX661" fmla="*/ 6686939 w 8882887"/>
              <a:gd name="connsiteY661" fmla="*/ 1343372 h 1682495"/>
              <a:gd name="connsiteX662" fmla="*/ 6704493 w 8882887"/>
              <a:gd name="connsiteY662" fmla="*/ 1331166 h 1682495"/>
              <a:gd name="connsiteX663" fmla="*/ 6705747 w 8882887"/>
              <a:gd name="connsiteY663" fmla="*/ 1329423 h 1682495"/>
              <a:gd name="connsiteX664" fmla="*/ 6714523 w 8882887"/>
              <a:gd name="connsiteY664" fmla="*/ 1317219 h 1682495"/>
              <a:gd name="connsiteX665" fmla="*/ 6715359 w 8882887"/>
              <a:gd name="connsiteY665" fmla="*/ 1314168 h 1682495"/>
              <a:gd name="connsiteX666" fmla="*/ 6721211 w 8882887"/>
              <a:gd name="connsiteY666" fmla="*/ 1292810 h 1682495"/>
              <a:gd name="connsiteX667" fmla="*/ 6722047 w 8882887"/>
              <a:gd name="connsiteY667" fmla="*/ 1295861 h 1682495"/>
              <a:gd name="connsiteX668" fmla="*/ 6727897 w 8882887"/>
              <a:gd name="connsiteY668" fmla="*/ 1317219 h 1682495"/>
              <a:gd name="connsiteX669" fmla="*/ 6728733 w 8882887"/>
              <a:gd name="connsiteY669" fmla="*/ 1318526 h 1682495"/>
              <a:gd name="connsiteX670" fmla="*/ 6734585 w 8882887"/>
              <a:gd name="connsiteY670" fmla="*/ 1327680 h 1682495"/>
              <a:gd name="connsiteX671" fmla="*/ 6736675 w 8882887"/>
              <a:gd name="connsiteY671" fmla="*/ 1329423 h 1682495"/>
              <a:gd name="connsiteX672" fmla="*/ 6751303 w 8882887"/>
              <a:gd name="connsiteY672" fmla="*/ 1341627 h 1682495"/>
              <a:gd name="connsiteX673" fmla="*/ 6752975 w 8882887"/>
              <a:gd name="connsiteY673" fmla="*/ 1343372 h 1682495"/>
              <a:gd name="connsiteX674" fmla="*/ 6764675 w 8882887"/>
              <a:gd name="connsiteY674" fmla="*/ 1355576 h 1682495"/>
              <a:gd name="connsiteX675" fmla="*/ 6766349 w 8882887"/>
              <a:gd name="connsiteY675" fmla="*/ 1357319 h 1682495"/>
              <a:gd name="connsiteX676" fmla="*/ 6778051 w 8882887"/>
              <a:gd name="connsiteY676" fmla="*/ 1369523 h 1682495"/>
              <a:gd name="connsiteX677" fmla="*/ 6778469 w 8882887"/>
              <a:gd name="connsiteY677" fmla="*/ 1371267 h 1682495"/>
              <a:gd name="connsiteX678" fmla="*/ 6781393 w 8882887"/>
              <a:gd name="connsiteY678" fmla="*/ 1383471 h 1682495"/>
              <a:gd name="connsiteX679" fmla="*/ 6781811 w 8882887"/>
              <a:gd name="connsiteY679" fmla="*/ 1385214 h 1682495"/>
              <a:gd name="connsiteX680" fmla="*/ 6784737 w 8882887"/>
              <a:gd name="connsiteY680" fmla="*/ 1397420 h 1682495"/>
              <a:gd name="connsiteX681" fmla="*/ 6794767 w 8882887"/>
              <a:gd name="connsiteY681" fmla="*/ 1362549 h 1682495"/>
              <a:gd name="connsiteX682" fmla="*/ 6801455 w 8882887"/>
              <a:gd name="connsiteY682" fmla="*/ 1397420 h 1682495"/>
              <a:gd name="connsiteX683" fmla="*/ 6808141 w 8882887"/>
              <a:gd name="connsiteY683" fmla="*/ 1400034 h 1682495"/>
              <a:gd name="connsiteX684" fmla="*/ 6808141 w 8882887"/>
              <a:gd name="connsiteY684" fmla="*/ 1418342 h 1682495"/>
              <a:gd name="connsiteX685" fmla="*/ 6801455 w 8882887"/>
              <a:gd name="connsiteY685" fmla="*/ 1467159 h 1682495"/>
              <a:gd name="connsiteX686" fmla="*/ 6803127 w 8882887"/>
              <a:gd name="connsiteY686" fmla="*/ 1467159 h 1682495"/>
              <a:gd name="connsiteX687" fmla="*/ 6814829 w 8882887"/>
              <a:gd name="connsiteY687" fmla="*/ 1467159 h 1682495"/>
              <a:gd name="connsiteX688" fmla="*/ 6816083 w 8882887"/>
              <a:gd name="connsiteY688" fmla="*/ 1474133 h 1682495"/>
              <a:gd name="connsiteX689" fmla="*/ 6824859 w 8882887"/>
              <a:gd name="connsiteY689" fmla="*/ 1474133 h 1682495"/>
              <a:gd name="connsiteX690" fmla="*/ 6824859 w 8882887"/>
              <a:gd name="connsiteY690" fmla="*/ 1472390 h 1682495"/>
              <a:gd name="connsiteX691" fmla="*/ 6824859 w 8882887"/>
              <a:gd name="connsiteY691" fmla="*/ 1460184 h 1682495"/>
              <a:gd name="connsiteX692" fmla="*/ 6828203 w 8882887"/>
              <a:gd name="connsiteY692" fmla="*/ 1460184 h 1682495"/>
              <a:gd name="connsiteX693" fmla="*/ 6851607 w 8882887"/>
              <a:gd name="connsiteY693" fmla="*/ 1460184 h 1682495"/>
              <a:gd name="connsiteX694" fmla="*/ 6851607 w 8882887"/>
              <a:gd name="connsiteY694" fmla="*/ 1457133 h 1682495"/>
              <a:gd name="connsiteX695" fmla="*/ 6851607 w 8882887"/>
              <a:gd name="connsiteY695" fmla="*/ 1435776 h 1682495"/>
              <a:gd name="connsiteX696" fmla="*/ 6908447 w 8882887"/>
              <a:gd name="connsiteY696" fmla="*/ 1435776 h 1682495"/>
              <a:gd name="connsiteX697" fmla="*/ 6908447 w 8882887"/>
              <a:gd name="connsiteY697" fmla="*/ 1437956 h 1682495"/>
              <a:gd name="connsiteX698" fmla="*/ 6908447 w 8882887"/>
              <a:gd name="connsiteY698" fmla="*/ 1453211 h 1682495"/>
              <a:gd name="connsiteX699" fmla="*/ 6938539 w 8882887"/>
              <a:gd name="connsiteY699" fmla="*/ 1453211 h 1682495"/>
              <a:gd name="connsiteX700" fmla="*/ 6938539 w 8882887"/>
              <a:gd name="connsiteY700" fmla="*/ 1456698 h 1682495"/>
              <a:gd name="connsiteX701" fmla="*/ 6938539 w 8882887"/>
              <a:gd name="connsiteY701" fmla="*/ 1481106 h 1682495"/>
              <a:gd name="connsiteX702" fmla="*/ 6931853 w 8882887"/>
              <a:gd name="connsiteY702" fmla="*/ 1482414 h 1682495"/>
              <a:gd name="connsiteX703" fmla="*/ 6931853 w 8882887"/>
              <a:gd name="connsiteY703" fmla="*/ 1491567 h 1682495"/>
              <a:gd name="connsiteX704" fmla="*/ 6938539 w 8882887"/>
              <a:gd name="connsiteY704" fmla="*/ 1494183 h 1682495"/>
              <a:gd name="connsiteX705" fmla="*/ 6938539 w 8882887"/>
              <a:gd name="connsiteY705" fmla="*/ 1512489 h 1682495"/>
              <a:gd name="connsiteX706" fmla="*/ 6931853 w 8882887"/>
              <a:gd name="connsiteY706" fmla="*/ 1519463 h 1682495"/>
              <a:gd name="connsiteX707" fmla="*/ 6931853 w 8882887"/>
              <a:gd name="connsiteY707" fmla="*/ 1603151 h 1682495"/>
              <a:gd name="connsiteX708" fmla="*/ 6934777 w 8882887"/>
              <a:gd name="connsiteY708" fmla="*/ 1603151 h 1682495"/>
              <a:gd name="connsiteX709" fmla="*/ 6955257 w 8882887"/>
              <a:gd name="connsiteY709" fmla="*/ 1603151 h 1682495"/>
              <a:gd name="connsiteX710" fmla="*/ 6957763 w 8882887"/>
              <a:gd name="connsiteY710" fmla="*/ 1610124 h 1682495"/>
              <a:gd name="connsiteX711" fmla="*/ 6975319 w 8882887"/>
              <a:gd name="connsiteY711" fmla="*/ 1610124 h 1682495"/>
              <a:gd name="connsiteX712" fmla="*/ 6975319 w 8882887"/>
              <a:gd name="connsiteY712" fmla="*/ 1613175 h 1682495"/>
              <a:gd name="connsiteX713" fmla="*/ 6975319 w 8882887"/>
              <a:gd name="connsiteY713" fmla="*/ 1634534 h 1682495"/>
              <a:gd name="connsiteX714" fmla="*/ 6977827 w 8882887"/>
              <a:gd name="connsiteY714" fmla="*/ 1634534 h 1682495"/>
              <a:gd name="connsiteX715" fmla="*/ 6995379 w 8882887"/>
              <a:gd name="connsiteY715" fmla="*/ 1634534 h 1682495"/>
              <a:gd name="connsiteX716" fmla="*/ 6995379 w 8882887"/>
              <a:gd name="connsiteY716" fmla="*/ 1631483 h 1682495"/>
              <a:gd name="connsiteX717" fmla="*/ 6995379 w 8882887"/>
              <a:gd name="connsiteY717" fmla="*/ 1610124 h 1682495"/>
              <a:gd name="connsiteX718" fmla="*/ 6998303 w 8882887"/>
              <a:gd name="connsiteY718" fmla="*/ 1608381 h 1682495"/>
              <a:gd name="connsiteX719" fmla="*/ 7018783 w 8882887"/>
              <a:gd name="connsiteY719" fmla="*/ 1596177 h 1682495"/>
              <a:gd name="connsiteX720" fmla="*/ 7018783 w 8882887"/>
              <a:gd name="connsiteY720" fmla="*/ 1564794 h 1682495"/>
              <a:gd name="connsiteX721" fmla="*/ 7012097 w 8882887"/>
              <a:gd name="connsiteY721" fmla="*/ 1529924 h 1682495"/>
              <a:gd name="connsiteX722" fmla="*/ 7013767 w 8882887"/>
              <a:gd name="connsiteY722" fmla="*/ 1529924 h 1682495"/>
              <a:gd name="connsiteX723" fmla="*/ 7025471 w 8882887"/>
              <a:gd name="connsiteY723" fmla="*/ 1529924 h 1682495"/>
              <a:gd name="connsiteX724" fmla="*/ 7055563 w 8882887"/>
              <a:gd name="connsiteY724" fmla="*/ 1526438 h 1682495"/>
              <a:gd name="connsiteX725" fmla="*/ 7055563 w 8882887"/>
              <a:gd name="connsiteY725" fmla="*/ 1524693 h 1682495"/>
              <a:gd name="connsiteX726" fmla="*/ 7055563 w 8882887"/>
              <a:gd name="connsiteY726" fmla="*/ 1512489 h 1682495"/>
              <a:gd name="connsiteX727" fmla="*/ 7058071 w 8882887"/>
              <a:gd name="connsiteY727" fmla="*/ 1512489 h 1682495"/>
              <a:gd name="connsiteX728" fmla="*/ 7075623 w 8882887"/>
              <a:gd name="connsiteY728" fmla="*/ 1512489 h 1682495"/>
              <a:gd name="connsiteX729" fmla="*/ 7075623 w 8882887"/>
              <a:gd name="connsiteY729" fmla="*/ 1338141 h 1682495"/>
              <a:gd name="connsiteX730" fmla="*/ 7077295 w 8882887"/>
              <a:gd name="connsiteY730" fmla="*/ 1338141 h 1682495"/>
              <a:gd name="connsiteX731" fmla="*/ 7088997 w 8882887"/>
              <a:gd name="connsiteY731" fmla="*/ 1338141 h 1682495"/>
              <a:gd name="connsiteX732" fmla="*/ 7088997 w 8882887"/>
              <a:gd name="connsiteY732" fmla="*/ 1334654 h 1682495"/>
              <a:gd name="connsiteX733" fmla="*/ 7088997 w 8882887"/>
              <a:gd name="connsiteY733" fmla="*/ 1310244 h 1682495"/>
              <a:gd name="connsiteX734" fmla="*/ 7092341 w 8882887"/>
              <a:gd name="connsiteY734" fmla="*/ 1240505 h 1682495"/>
              <a:gd name="connsiteX735" fmla="*/ 7094013 w 8882887"/>
              <a:gd name="connsiteY735" fmla="*/ 1240505 h 1682495"/>
              <a:gd name="connsiteX736" fmla="*/ 7105715 w 8882887"/>
              <a:gd name="connsiteY736" fmla="*/ 1240505 h 1682495"/>
              <a:gd name="connsiteX737" fmla="*/ 7105715 w 8882887"/>
              <a:gd name="connsiteY737" fmla="*/ 1242249 h 1682495"/>
              <a:gd name="connsiteX738" fmla="*/ 7105715 w 8882887"/>
              <a:gd name="connsiteY738" fmla="*/ 1254453 h 1682495"/>
              <a:gd name="connsiteX739" fmla="*/ 7112401 w 8882887"/>
              <a:gd name="connsiteY739" fmla="*/ 1250966 h 1682495"/>
              <a:gd name="connsiteX740" fmla="*/ 7112401 w 8882887"/>
              <a:gd name="connsiteY740" fmla="*/ 1226558 h 1682495"/>
              <a:gd name="connsiteX741" fmla="*/ 7114491 w 8882887"/>
              <a:gd name="connsiteY741" fmla="*/ 1225686 h 1682495"/>
              <a:gd name="connsiteX742" fmla="*/ 7129119 w 8882887"/>
              <a:gd name="connsiteY742" fmla="*/ 1219584 h 1682495"/>
              <a:gd name="connsiteX743" fmla="*/ 7130791 w 8882887"/>
              <a:gd name="connsiteY743" fmla="*/ 1220456 h 1682495"/>
              <a:gd name="connsiteX744" fmla="*/ 7142493 w 8882887"/>
              <a:gd name="connsiteY744" fmla="*/ 1226558 h 1682495"/>
              <a:gd name="connsiteX745" fmla="*/ 7145001 w 8882887"/>
              <a:gd name="connsiteY745" fmla="*/ 1226558 h 1682495"/>
              <a:gd name="connsiteX746" fmla="*/ 7162555 w 8882887"/>
              <a:gd name="connsiteY746" fmla="*/ 1226558 h 1682495"/>
              <a:gd name="connsiteX747" fmla="*/ 7162555 w 8882887"/>
              <a:gd name="connsiteY747" fmla="*/ 1181226 h 1682495"/>
              <a:gd name="connsiteX748" fmla="*/ 7164227 w 8882887"/>
              <a:gd name="connsiteY748" fmla="*/ 1181226 h 1682495"/>
              <a:gd name="connsiteX749" fmla="*/ 7175927 w 8882887"/>
              <a:gd name="connsiteY749" fmla="*/ 1181226 h 1682495"/>
              <a:gd name="connsiteX750" fmla="*/ 7178017 w 8882887"/>
              <a:gd name="connsiteY750" fmla="*/ 1188201 h 1682495"/>
              <a:gd name="connsiteX751" fmla="*/ 7192647 w 8882887"/>
              <a:gd name="connsiteY751" fmla="*/ 1188201 h 1682495"/>
              <a:gd name="connsiteX752" fmla="*/ 7194319 w 8882887"/>
              <a:gd name="connsiteY752" fmla="*/ 1181226 h 1682495"/>
              <a:gd name="connsiteX753" fmla="*/ 7206021 w 8882887"/>
              <a:gd name="connsiteY753" fmla="*/ 1181226 h 1682495"/>
              <a:gd name="connsiteX754" fmla="*/ 7206021 w 8882887"/>
              <a:gd name="connsiteY754" fmla="*/ 1233531 h 1682495"/>
              <a:gd name="connsiteX755" fmla="*/ 7208111 w 8882887"/>
              <a:gd name="connsiteY755" fmla="*/ 1235274 h 1682495"/>
              <a:gd name="connsiteX756" fmla="*/ 7222739 w 8882887"/>
              <a:gd name="connsiteY756" fmla="*/ 1247480 h 1682495"/>
              <a:gd name="connsiteX757" fmla="*/ 7256173 w 8882887"/>
              <a:gd name="connsiteY757" fmla="*/ 1257941 h 1682495"/>
              <a:gd name="connsiteX758" fmla="*/ 7256173 w 8882887"/>
              <a:gd name="connsiteY758" fmla="*/ 1255761 h 1682495"/>
              <a:gd name="connsiteX759" fmla="*/ 7256173 w 8882887"/>
              <a:gd name="connsiteY759" fmla="*/ 1240505 h 1682495"/>
              <a:gd name="connsiteX760" fmla="*/ 7299639 w 8882887"/>
              <a:gd name="connsiteY760" fmla="*/ 1226558 h 1682495"/>
              <a:gd name="connsiteX761" fmla="*/ 7299639 w 8882887"/>
              <a:gd name="connsiteY761" fmla="*/ 1224815 h 1682495"/>
              <a:gd name="connsiteX762" fmla="*/ 7299639 w 8882887"/>
              <a:gd name="connsiteY762" fmla="*/ 1212609 h 1682495"/>
              <a:gd name="connsiteX763" fmla="*/ 7300893 w 8882887"/>
              <a:gd name="connsiteY763" fmla="*/ 1212609 h 1682495"/>
              <a:gd name="connsiteX764" fmla="*/ 7309669 w 8882887"/>
              <a:gd name="connsiteY764" fmla="*/ 1212609 h 1682495"/>
              <a:gd name="connsiteX765" fmla="*/ 7309669 w 8882887"/>
              <a:gd name="connsiteY765" fmla="*/ 1211303 h 1682495"/>
              <a:gd name="connsiteX766" fmla="*/ 7309669 w 8882887"/>
              <a:gd name="connsiteY766" fmla="*/ 1202148 h 1682495"/>
              <a:gd name="connsiteX767" fmla="*/ 7313013 w 8882887"/>
              <a:gd name="connsiteY767" fmla="*/ 1202148 h 1682495"/>
              <a:gd name="connsiteX768" fmla="*/ 7336417 w 8882887"/>
              <a:gd name="connsiteY768" fmla="*/ 1202148 h 1682495"/>
              <a:gd name="connsiteX769" fmla="*/ 7336417 w 8882887"/>
              <a:gd name="connsiteY769" fmla="*/ 1203456 h 1682495"/>
              <a:gd name="connsiteX770" fmla="*/ 7336417 w 8882887"/>
              <a:gd name="connsiteY770" fmla="*/ 1212609 h 1682495"/>
              <a:gd name="connsiteX771" fmla="*/ 7338925 w 8882887"/>
              <a:gd name="connsiteY771" fmla="*/ 1212609 h 1682495"/>
              <a:gd name="connsiteX772" fmla="*/ 7356479 w 8882887"/>
              <a:gd name="connsiteY772" fmla="*/ 1212609 h 1682495"/>
              <a:gd name="connsiteX773" fmla="*/ 7356479 w 8882887"/>
              <a:gd name="connsiteY773" fmla="*/ 1215225 h 1682495"/>
              <a:gd name="connsiteX774" fmla="*/ 7356479 w 8882887"/>
              <a:gd name="connsiteY774" fmla="*/ 1233531 h 1682495"/>
              <a:gd name="connsiteX775" fmla="*/ 7393257 w 8882887"/>
              <a:gd name="connsiteY775" fmla="*/ 1233531 h 1682495"/>
              <a:gd name="connsiteX776" fmla="*/ 7393257 w 8882887"/>
              <a:gd name="connsiteY776" fmla="*/ 1231788 h 1682495"/>
              <a:gd name="connsiteX777" fmla="*/ 7393257 w 8882887"/>
              <a:gd name="connsiteY777" fmla="*/ 1219584 h 1682495"/>
              <a:gd name="connsiteX778" fmla="*/ 7395347 w 8882887"/>
              <a:gd name="connsiteY778" fmla="*/ 1219584 h 1682495"/>
              <a:gd name="connsiteX779" fmla="*/ 7409975 w 8882887"/>
              <a:gd name="connsiteY779" fmla="*/ 1219584 h 1682495"/>
              <a:gd name="connsiteX780" fmla="*/ 7409975 w 8882887"/>
              <a:gd name="connsiteY780" fmla="*/ 1217840 h 1682495"/>
              <a:gd name="connsiteX781" fmla="*/ 7409975 w 8882887"/>
              <a:gd name="connsiteY781" fmla="*/ 1205636 h 1682495"/>
              <a:gd name="connsiteX782" fmla="*/ 7412483 w 8882887"/>
              <a:gd name="connsiteY782" fmla="*/ 1205636 h 1682495"/>
              <a:gd name="connsiteX783" fmla="*/ 7430035 w 8882887"/>
              <a:gd name="connsiteY783" fmla="*/ 1205636 h 1682495"/>
              <a:gd name="connsiteX784" fmla="*/ 7430035 w 8882887"/>
              <a:gd name="connsiteY784" fmla="*/ 1207379 h 1682495"/>
              <a:gd name="connsiteX785" fmla="*/ 7430035 w 8882887"/>
              <a:gd name="connsiteY785" fmla="*/ 1219584 h 1682495"/>
              <a:gd name="connsiteX786" fmla="*/ 7436723 w 8882887"/>
              <a:gd name="connsiteY786" fmla="*/ 1135896 h 1682495"/>
              <a:gd name="connsiteX787" fmla="*/ 7587181 w 8882887"/>
              <a:gd name="connsiteY787" fmla="*/ 1135896 h 1682495"/>
              <a:gd name="connsiteX788" fmla="*/ 7587181 w 8882887"/>
              <a:gd name="connsiteY788" fmla="*/ 1247480 h 1682495"/>
              <a:gd name="connsiteX789" fmla="*/ 7590525 w 8882887"/>
              <a:gd name="connsiteY789" fmla="*/ 1247480 h 1682495"/>
              <a:gd name="connsiteX790" fmla="*/ 7613929 w 8882887"/>
              <a:gd name="connsiteY790" fmla="*/ 1247480 h 1682495"/>
              <a:gd name="connsiteX791" fmla="*/ 7613929 w 8882887"/>
              <a:gd name="connsiteY791" fmla="*/ 1121948 h 1682495"/>
              <a:gd name="connsiteX792" fmla="*/ 7647365 w 8882887"/>
              <a:gd name="connsiteY792" fmla="*/ 1104513 h 1682495"/>
              <a:gd name="connsiteX793" fmla="*/ 7690831 w 8882887"/>
              <a:gd name="connsiteY793" fmla="*/ 1104513 h 1682495"/>
              <a:gd name="connsiteX794" fmla="*/ 7693757 w 8882887"/>
              <a:gd name="connsiteY794" fmla="*/ 1101899 h 1682495"/>
              <a:gd name="connsiteX795" fmla="*/ 7714235 w 8882887"/>
              <a:gd name="connsiteY795" fmla="*/ 1083591 h 1682495"/>
              <a:gd name="connsiteX796" fmla="*/ 7771075 w 8882887"/>
              <a:gd name="connsiteY796" fmla="*/ 1083591 h 1682495"/>
              <a:gd name="connsiteX797" fmla="*/ 7771075 w 8882887"/>
              <a:gd name="connsiteY797" fmla="*/ 1086207 h 1682495"/>
              <a:gd name="connsiteX798" fmla="*/ 7771075 w 8882887"/>
              <a:gd name="connsiteY798" fmla="*/ 1104513 h 1682495"/>
              <a:gd name="connsiteX799" fmla="*/ 7827915 w 8882887"/>
              <a:gd name="connsiteY799" fmla="*/ 1104513 h 1682495"/>
              <a:gd name="connsiteX800" fmla="*/ 7827915 w 8882887"/>
              <a:gd name="connsiteY800" fmla="*/ 1240505 h 1682495"/>
              <a:gd name="connsiteX801" fmla="*/ 7830005 w 8882887"/>
              <a:gd name="connsiteY801" fmla="*/ 1240505 h 1682495"/>
              <a:gd name="connsiteX802" fmla="*/ 7844633 w 8882887"/>
              <a:gd name="connsiteY802" fmla="*/ 1240505 h 1682495"/>
              <a:gd name="connsiteX803" fmla="*/ 7844633 w 8882887"/>
              <a:gd name="connsiteY803" fmla="*/ 1439262 h 1682495"/>
              <a:gd name="connsiteX804" fmla="*/ 7847975 w 8882887"/>
              <a:gd name="connsiteY804" fmla="*/ 1439262 h 1682495"/>
              <a:gd name="connsiteX805" fmla="*/ 7871381 w 8882887"/>
              <a:gd name="connsiteY805" fmla="*/ 1439262 h 1682495"/>
              <a:gd name="connsiteX806" fmla="*/ 7871381 w 8882887"/>
              <a:gd name="connsiteY806" fmla="*/ 1310244 h 1682495"/>
              <a:gd name="connsiteX807" fmla="*/ 7872635 w 8882887"/>
              <a:gd name="connsiteY807" fmla="*/ 1309373 h 1682495"/>
              <a:gd name="connsiteX808" fmla="*/ 7881411 w 8882887"/>
              <a:gd name="connsiteY808" fmla="*/ 1303271 h 1682495"/>
              <a:gd name="connsiteX809" fmla="*/ 7888099 w 8882887"/>
              <a:gd name="connsiteY809" fmla="*/ 1305014 h 1682495"/>
              <a:gd name="connsiteX810" fmla="*/ 7888099 w 8882887"/>
              <a:gd name="connsiteY810" fmla="*/ 1317219 h 1682495"/>
              <a:gd name="connsiteX811" fmla="*/ 7891441 w 8882887"/>
              <a:gd name="connsiteY811" fmla="*/ 1315475 h 1682495"/>
              <a:gd name="connsiteX812" fmla="*/ 7914847 w 8882887"/>
              <a:gd name="connsiteY812" fmla="*/ 1303271 h 1682495"/>
              <a:gd name="connsiteX813" fmla="*/ 7917773 w 8882887"/>
              <a:gd name="connsiteY813" fmla="*/ 1303271 h 1682495"/>
              <a:gd name="connsiteX814" fmla="*/ 7938251 w 8882887"/>
              <a:gd name="connsiteY814" fmla="*/ 1303271 h 1682495"/>
              <a:gd name="connsiteX815" fmla="*/ 7938251 w 8882887"/>
              <a:gd name="connsiteY815" fmla="*/ 1540385 h 1682495"/>
              <a:gd name="connsiteX816" fmla="*/ 7985061 w 8882887"/>
              <a:gd name="connsiteY816" fmla="*/ 1547360 h 1682495"/>
              <a:gd name="connsiteX817" fmla="*/ 7985061 w 8882887"/>
              <a:gd name="connsiteY817" fmla="*/ 1536899 h 1682495"/>
              <a:gd name="connsiteX818" fmla="*/ 8035213 w 8882887"/>
              <a:gd name="connsiteY818" fmla="*/ 1536899 h 1682495"/>
              <a:gd name="connsiteX819" fmla="*/ 8035213 w 8882887"/>
              <a:gd name="connsiteY819" fmla="*/ 1491567 h 1682495"/>
              <a:gd name="connsiteX820" fmla="*/ 8048587 w 8882887"/>
              <a:gd name="connsiteY820" fmla="*/ 1491567 h 1682495"/>
              <a:gd name="connsiteX821" fmla="*/ 8048587 w 8882887"/>
              <a:gd name="connsiteY821" fmla="*/ 1432289 h 1682495"/>
              <a:gd name="connsiteX822" fmla="*/ 8058619 w 8882887"/>
              <a:gd name="connsiteY822" fmla="*/ 1432289 h 1682495"/>
              <a:gd name="connsiteX823" fmla="*/ 8058619 w 8882887"/>
              <a:gd name="connsiteY823" fmla="*/ 1373010 h 1682495"/>
              <a:gd name="connsiteX824" fmla="*/ 8082023 w 8882887"/>
              <a:gd name="connsiteY824" fmla="*/ 1373010 h 1682495"/>
              <a:gd name="connsiteX825" fmla="*/ 8155579 w 8882887"/>
              <a:gd name="connsiteY825" fmla="*/ 1341627 h 1682495"/>
              <a:gd name="connsiteX826" fmla="*/ 8158923 w 8882887"/>
              <a:gd name="connsiteY826" fmla="*/ 1310244 h 1682495"/>
              <a:gd name="connsiteX827" fmla="*/ 8165611 w 8882887"/>
              <a:gd name="connsiteY827" fmla="*/ 1341627 h 1682495"/>
              <a:gd name="connsiteX828" fmla="*/ 8242511 w 8882887"/>
              <a:gd name="connsiteY828" fmla="*/ 1383471 h 1682495"/>
              <a:gd name="connsiteX829" fmla="*/ 8242511 w 8882887"/>
              <a:gd name="connsiteY829" fmla="*/ 1376498 h 1682495"/>
              <a:gd name="connsiteX830" fmla="*/ 8262573 w 8882887"/>
              <a:gd name="connsiteY830" fmla="*/ 1376498 h 1682495"/>
              <a:gd name="connsiteX831" fmla="*/ 8262573 w 8882887"/>
              <a:gd name="connsiteY831" fmla="*/ 1432289 h 1682495"/>
              <a:gd name="connsiteX832" fmla="*/ 8272603 w 8882887"/>
              <a:gd name="connsiteY832" fmla="*/ 1432289 h 1682495"/>
              <a:gd name="connsiteX833" fmla="*/ 8272603 w 8882887"/>
              <a:gd name="connsiteY833" fmla="*/ 1498541 h 1682495"/>
              <a:gd name="connsiteX834" fmla="*/ 8282635 w 8882887"/>
              <a:gd name="connsiteY834" fmla="*/ 1498541 h 1682495"/>
              <a:gd name="connsiteX835" fmla="*/ 8282635 w 8882887"/>
              <a:gd name="connsiteY835" fmla="*/ 1529924 h 1682495"/>
              <a:gd name="connsiteX836" fmla="*/ 8302695 w 8882887"/>
              <a:gd name="connsiteY836" fmla="*/ 1529924 h 1682495"/>
              <a:gd name="connsiteX837" fmla="*/ 8302695 w 8882887"/>
              <a:gd name="connsiteY837" fmla="*/ 1578741 h 1682495"/>
              <a:gd name="connsiteX838" fmla="*/ 8429747 w 8882887"/>
              <a:gd name="connsiteY838" fmla="*/ 1568280 h 1682495"/>
              <a:gd name="connsiteX839" fmla="*/ 8429747 w 8882887"/>
              <a:gd name="connsiteY839" fmla="*/ 1519463 h 1682495"/>
              <a:gd name="connsiteX840" fmla="*/ 8496619 w 8882887"/>
              <a:gd name="connsiteY840" fmla="*/ 1519463 h 1682495"/>
              <a:gd name="connsiteX841" fmla="*/ 8496619 w 8882887"/>
              <a:gd name="connsiteY841" fmla="*/ 1491567 h 1682495"/>
              <a:gd name="connsiteX842" fmla="*/ 8637047 w 8882887"/>
              <a:gd name="connsiteY842" fmla="*/ 1491567 h 1682495"/>
              <a:gd name="connsiteX843" fmla="*/ 8637047 w 8882887"/>
              <a:gd name="connsiteY843" fmla="*/ 1509002 h 1682495"/>
              <a:gd name="connsiteX844" fmla="*/ 8727321 w 8882887"/>
              <a:gd name="connsiteY844" fmla="*/ 1509002 h 1682495"/>
              <a:gd name="connsiteX845" fmla="*/ 8727321 w 8882887"/>
              <a:gd name="connsiteY845" fmla="*/ 1519463 h 1682495"/>
              <a:gd name="connsiteX846" fmla="*/ 8754069 w 8882887"/>
              <a:gd name="connsiteY846" fmla="*/ 1519463 h 1682495"/>
              <a:gd name="connsiteX847" fmla="*/ 8754069 w 8882887"/>
              <a:gd name="connsiteY847" fmla="*/ 1529924 h 1682495"/>
              <a:gd name="connsiteX848" fmla="*/ 8777473 w 8882887"/>
              <a:gd name="connsiteY848" fmla="*/ 1529924 h 1682495"/>
              <a:gd name="connsiteX849" fmla="*/ 8777473 w 8882887"/>
              <a:gd name="connsiteY849" fmla="*/ 1499913 h 1682495"/>
              <a:gd name="connsiteX850" fmla="*/ 8882887 w 8882887"/>
              <a:gd name="connsiteY850" fmla="*/ 1682495 h 1682495"/>
              <a:gd name="connsiteX851" fmla="*/ 0 w 8882887"/>
              <a:gd name="connsiteY851" fmla="*/ 1682495 h 1682495"/>
              <a:gd name="connsiteX852" fmla="*/ 63077 w 8882887"/>
              <a:gd name="connsiteY852" fmla="*/ 1573241 h 1682495"/>
              <a:gd name="connsiteX853" fmla="*/ 123345 w 8882887"/>
              <a:gd name="connsiteY853" fmla="*/ 1568279 h 1682495"/>
              <a:gd name="connsiteX854" fmla="*/ 123345 w 8882887"/>
              <a:gd name="connsiteY854" fmla="*/ 1519461 h 1682495"/>
              <a:gd name="connsiteX855" fmla="*/ 190215 w 8882887"/>
              <a:gd name="connsiteY855" fmla="*/ 1519461 h 1682495"/>
              <a:gd name="connsiteX856" fmla="*/ 190215 w 8882887"/>
              <a:gd name="connsiteY856" fmla="*/ 1491566 h 1682495"/>
              <a:gd name="connsiteX857" fmla="*/ 330643 w 8882887"/>
              <a:gd name="connsiteY857" fmla="*/ 1491566 h 1682495"/>
              <a:gd name="connsiteX858" fmla="*/ 330643 w 8882887"/>
              <a:gd name="connsiteY858" fmla="*/ 1509000 h 1682495"/>
              <a:gd name="connsiteX859" fmla="*/ 420917 w 8882887"/>
              <a:gd name="connsiteY859" fmla="*/ 1509000 h 1682495"/>
              <a:gd name="connsiteX860" fmla="*/ 420917 w 8882887"/>
              <a:gd name="connsiteY860" fmla="*/ 1519461 h 1682495"/>
              <a:gd name="connsiteX861" fmla="*/ 447665 w 8882887"/>
              <a:gd name="connsiteY861" fmla="*/ 1519461 h 1682495"/>
              <a:gd name="connsiteX862" fmla="*/ 447665 w 8882887"/>
              <a:gd name="connsiteY862" fmla="*/ 1529922 h 1682495"/>
              <a:gd name="connsiteX863" fmla="*/ 471070 w 8882887"/>
              <a:gd name="connsiteY863" fmla="*/ 1529922 h 1682495"/>
              <a:gd name="connsiteX864" fmla="*/ 471070 w 8882887"/>
              <a:gd name="connsiteY864" fmla="*/ 1373009 h 1682495"/>
              <a:gd name="connsiteX865" fmla="*/ 541285 w 8882887"/>
              <a:gd name="connsiteY865" fmla="*/ 1352087 h 1682495"/>
              <a:gd name="connsiteX866" fmla="*/ 671681 w 8882887"/>
              <a:gd name="connsiteY866" fmla="*/ 1352087 h 1682495"/>
              <a:gd name="connsiteX867" fmla="*/ 671681 w 8882887"/>
              <a:gd name="connsiteY867" fmla="*/ 1101026 h 1682495"/>
              <a:gd name="connsiteX868" fmla="*/ 708460 w 8882887"/>
              <a:gd name="connsiteY868" fmla="*/ 1083590 h 1682495"/>
              <a:gd name="connsiteX869" fmla="*/ 868949 w 8882887"/>
              <a:gd name="connsiteY869" fmla="*/ 1055694 h 1682495"/>
              <a:gd name="connsiteX870" fmla="*/ 925789 w 8882887"/>
              <a:gd name="connsiteY870" fmla="*/ 1073129 h 1682495"/>
              <a:gd name="connsiteX871" fmla="*/ 935819 w 8882887"/>
              <a:gd name="connsiteY871" fmla="*/ 1083590 h 1682495"/>
              <a:gd name="connsiteX872" fmla="*/ 935819 w 8882887"/>
              <a:gd name="connsiteY872" fmla="*/ 1550844 h 1682495"/>
              <a:gd name="connsiteX873" fmla="*/ 959224 w 8882887"/>
              <a:gd name="connsiteY873" fmla="*/ 1550844 h 1682495"/>
              <a:gd name="connsiteX874" fmla="*/ 959224 w 8882887"/>
              <a:gd name="connsiteY874" fmla="*/ 1362548 h 1682495"/>
              <a:gd name="connsiteX875" fmla="*/ 979285 w 8882887"/>
              <a:gd name="connsiteY875" fmla="*/ 1362548 h 1682495"/>
              <a:gd name="connsiteX876" fmla="*/ 979285 w 8882887"/>
              <a:gd name="connsiteY876" fmla="*/ 1345113 h 1682495"/>
              <a:gd name="connsiteX877" fmla="*/ 999346 w 8882887"/>
              <a:gd name="connsiteY877" fmla="*/ 1334652 h 1682495"/>
              <a:gd name="connsiteX878" fmla="*/ 1016063 w 8882887"/>
              <a:gd name="connsiteY878" fmla="*/ 1334652 h 1682495"/>
              <a:gd name="connsiteX879" fmla="*/ 1016063 w 8882887"/>
              <a:gd name="connsiteY879" fmla="*/ 1317218 h 1682495"/>
              <a:gd name="connsiteX880" fmla="*/ 1029437 w 8882887"/>
              <a:gd name="connsiteY880" fmla="*/ 1306757 h 1682495"/>
              <a:gd name="connsiteX881" fmla="*/ 1062874 w 8882887"/>
              <a:gd name="connsiteY881" fmla="*/ 1306757 h 1682495"/>
              <a:gd name="connsiteX882" fmla="*/ 1062874 w 8882887"/>
              <a:gd name="connsiteY882" fmla="*/ 1362548 h 1682495"/>
              <a:gd name="connsiteX883" fmla="*/ 1133087 w 8882887"/>
              <a:gd name="connsiteY883" fmla="*/ 1362548 h 1682495"/>
              <a:gd name="connsiteX884" fmla="*/ 1133087 w 8882887"/>
              <a:gd name="connsiteY884" fmla="*/ 1557819 h 1682495"/>
              <a:gd name="connsiteX885" fmla="*/ 1159835 w 8882887"/>
              <a:gd name="connsiteY885" fmla="*/ 1557819 h 1682495"/>
              <a:gd name="connsiteX886" fmla="*/ 1186583 w 8882887"/>
              <a:gd name="connsiteY886" fmla="*/ 1547358 h 1682495"/>
              <a:gd name="connsiteX887" fmla="*/ 1186583 w 8882887"/>
              <a:gd name="connsiteY887" fmla="*/ 1533410 h 1682495"/>
              <a:gd name="connsiteX888" fmla="*/ 1176553 w 8882887"/>
              <a:gd name="connsiteY888" fmla="*/ 1529922 h 1682495"/>
              <a:gd name="connsiteX889" fmla="*/ 1176553 w 8882887"/>
              <a:gd name="connsiteY889" fmla="*/ 1519461 h 1682495"/>
              <a:gd name="connsiteX890" fmla="*/ 1186583 w 8882887"/>
              <a:gd name="connsiteY890" fmla="*/ 1512488 h 1682495"/>
              <a:gd name="connsiteX891" fmla="*/ 1186583 w 8882887"/>
              <a:gd name="connsiteY891" fmla="*/ 1435775 h 1682495"/>
              <a:gd name="connsiteX892" fmla="*/ 1176553 w 8882887"/>
              <a:gd name="connsiteY892" fmla="*/ 1432287 h 1682495"/>
              <a:gd name="connsiteX893" fmla="*/ 1176553 w 8882887"/>
              <a:gd name="connsiteY893" fmla="*/ 1421826 h 1682495"/>
              <a:gd name="connsiteX894" fmla="*/ 1186583 w 8882887"/>
              <a:gd name="connsiteY894" fmla="*/ 1414853 h 1682495"/>
              <a:gd name="connsiteX895" fmla="*/ 1193271 w 8882887"/>
              <a:gd name="connsiteY895" fmla="*/ 1407879 h 1682495"/>
              <a:gd name="connsiteX896" fmla="*/ 1193271 w 8882887"/>
              <a:gd name="connsiteY896" fmla="*/ 1393931 h 1682495"/>
              <a:gd name="connsiteX897" fmla="*/ 1186583 w 8882887"/>
              <a:gd name="connsiteY897" fmla="*/ 1393931 h 1682495"/>
              <a:gd name="connsiteX898" fmla="*/ 1186583 w 8882887"/>
              <a:gd name="connsiteY898" fmla="*/ 1383470 h 1682495"/>
              <a:gd name="connsiteX899" fmla="*/ 1196614 w 8882887"/>
              <a:gd name="connsiteY899" fmla="*/ 1376496 h 1682495"/>
              <a:gd name="connsiteX900" fmla="*/ 1250110 w 8882887"/>
              <a:gd name="connsiteY900" fmla="*/ 1278861 h 1682495"/>
              <a:gd name="connsiteX901" fmla="*/ 1243423 w 8882887"/>
              <a:gd name="connsiteY901" fmla="*/ 1275374 h 1682495"/>
              <a:gd name="connsiteX902" fmla="*/ 1243423 w 8882887"/>
              <a:gd name="connsiteY902" fmla="*/ 1264913 h 1682495"/>
              <a:gd name="connsiteX903" fmla="*/ 1253453 w 8882887"/>
              <a:gd name="connsiteY903" fmla="*/ 1261425 h 1682495"/>
              <a:gd name="connsiteX904" fmla="*/ 1253453 w 8882887"/>
              <a:gd name="connsiteY904" fmla="*/ 1247478 h 1682495"/>
              <a:gd name="connsiteX905" fmla="*/ 1260141 w 8882887"/>
              <a:gd name="connsiteY905" fmla="*/ 1247478 h 1682495"/>
              <a:gd name="connsiteX906" fmla="*/ 1260141 w 8882887"/>
              <a:gd name="connsiteY906" fmla="*/ 1216095 h 1682495"/>
              <a:gd name="connsiteX907" fmla="*/ 1253453 w 8882887"/>
              <a:gd name="connsiteY907" fmla="*/ 1216095 h 1682495"/>
              <a:gd name="connsiteX908" fmla="*/ 1253453 w 8882887"/>
              <a:gd name="connsiteY908" fmla="*/ 1209122 h 1682495"/>
              <a:gd name="connsiteX909" fmla="*/ 1260141 w 8882887"/>
              <a:gd name="connsiteY909" fmla="*/ 1205634 h 1682495"/>
              <a:gd name="connsiteX910" fmla="*/ 1276858 w 8882887"/>
              <a:gd name="connsiteY910" fmla="*/ 1181225 h 1682495"/>
              <a:gd name="connsiteX911" fmla="*/ 1280201 w 8882887"/>
              <a:gd name="connsiteY911" fmla="*/ 1167278 h 1682495"/>
              <a:gd name="connsiteX912" fmla="*/ 1280201 w 8882887"/>
              <a:gd name="connsiteY912" fmla="*/ 1128921 h 1682495"/>
              <a:gd name="connsiteX913" fmla="*/ 1280620 w 8882887"/>
              <a:gd name="connsiteY913" fmla="*/ 1127613 h 1682495"/>
              <a:gd name="connsiteX914" fmla="*/ 1283545 w 8882887"/>
              <a:gd name="connsiteY914" fmla="*/ 1118460 h 1682495"/>
              <a:gd name="connsiteX915" fmla="*/ 1283963 w 8882887"/>
              <a:gd name="connsiteY915" fmla="*/ 1119768 h 1682495"/>
              <a:gd name="connsiteX916" fmla="*/ 1286889 w 8882887"/>
              <a:gd name="connsiteY916" fmla="*/ 1128921 h 1682495"/>
              <a:gd name="connsiteX917" fmla="*/ 1290232 w 8882887"/>
              <a:gd name="connsiteY917" fmla="*/ 1167278 h 1682495"/>
              <a:gd name="connsiteX918" fmla="*/ 1290232 w 8882887"/>
              <a:gd name="connsiteY918" fmla="*/ 1177739 h 1682495"/>
              <a:gd name="connsiteX919" fmla="*/ 1306951 w 8882887"/>
              <a:gd name="connsiteY919" fmla="*/ 1205634 h 1682495"/>
              <a:gd name="connsiteX920" fmla="*/ 1313638 w 8882887"/>
              <a:gd name="connsiteY920" fmla="*/ 1209122 h 1682495"/>
              <a:gd name="connsiteX921" fmla="*/ 1313638 w 8882887"/>
              <a:gd name="connsiteY921" fmla="*/ 1216095 h 1682495"/>
              <a:gd name="connsiteX922" fmla="*/ 1310295 w 8882887"/>
              <a:gd name="connsiteY922" fmla="*/ 1247478 h 1682495"/>
              <a:gd name="connsiteX923" fmla="*/ 1316981 w 8882887"/>
              <a:gd name="connsiteY923" fmla="*/ 1261425 h 1682495"/>
              <a:gd name="connsiteX924" fmla="*/ 1323669 w 8882887"/>
              <a:gd name="connsiteY924" fmla="*/ 1264913 h 1682495"/>
              <a:gd name="connsiteX925" fmla="*/ 1323669 w 8882887"/>
              <a:gd name="connsiteY925" fmla="*/ 1275374 h 1682495"/>
              <a:gd name="connsiteX926" fmla="*/ 1316981 w 8882887"/>
              <a:gd name="connsiteY926" fmla="*/ 1278861 h 1682495"/>
              <a:gd name="connsiteX927" fmla="*/ 1356268 w 8882887"/>
              <a:gd name="connsiteY927" fmla="*/ 1319833 h 1682495"/>
              <a:gd name="connsiteX928" fmla="*/ 1369603 w 8882887"/>
              <a:gd name="connsiteY928" fmla="*/ 1373009 h 1682495"/>
              <a:gd name="connsiteX929" fmla="*/ 1417287 w 8882887"/>
              <a:gd name="connsiteY929" fmla="*/ 1373009 h 1682495"/>
              <a:gd name="connsiteX930" fmla="*/ 1417287 w 8882887"/>
              <a:gd name="connsiteY930" fmla="*/ 1329494 h 1682495"/>
              <a:gd name="connsiteX931" fmla="*/ 1409211 w 8882887"/>
              <a:gd name="connsiteY931" fmla="*/ 1329494 h 1682495"/>
              <a:gd name="connsiteX932" fmla="*/ 1409211 w 8882887"/>
              <a:gd name="connsiteY932" fmla="*/ 1086294 h 1682495"/>
              <a:gd name="connsiteX933" fmla="*/ 1439612 w 8882887"/>
              <a:gd name="connsiteY933" fmla="*/ 1086294 h 1682495"/>
              <a:gd name="connsiteX934" fmla="*/ 1440372 w 8882887"/>
              <a:gd name="connsiteY934" fmla="*/ 1084673 h 1682495"/>
              <a:gd name="connsiteX935" fmla="*/ 1445691 w 8882887"/>
              <a:gd name="connsiteY935" fmla="*/ 1073324 h 1682495"/>
              <a:gd name="connsiteX936" fmla="*/ 1448352 w 8882887"/>
              <a:gd name="connsiteY936" fmla="*/ 1073729 h 1682495"/>
              <a:gd name="connsiteX937" fmla="*/ 1466972 w 8882887"/>
              <a:gd name="connsiteY937" fmla="*/ 1076565 h 1682495"/>
              <a:gd name="connsiteX938" fmla="*/ 1467732 w 8882887"/>
              <a:gd name="connsiteY938" fmla="*/ 1078593 h 1682495"/>
              <a:gd name="connsiteX939" fmla="*/ 1473051 w 8882887"/>
              <a:gd name="connsiteY939" fmla="*/ 1092779 h 1682495"/>
              <a:gd name="connsiteX940" fmla="*/ 1512572 w 8882887"/>
              <a:gd name="connsiteY940" fmla="*/ 1096022 h 1682495"/>
              <a:gd name="connsiteX941" fmla="*/ 1512572 w 8882887"/>
              <a:gd name="connsiteY941" fmla="*/ 911190 h 1682495"/>
              <a:gd name="connsiteX942" fmla="*/ 1515612 w 8882887"/>
              <a:gd name="connsiteY942" fmla="*/ 911190 h 1682495"/>
              <a:gd name="connsiteX943" fmla="*/ 1536893 w 8882887"/>
              <a:gd name="connsiteY943" fmla="*/ 911190 h 1682495"/>
              <a:gd name="connsiteX944" fmla="*/ 1536893 w 8882887"/>
              <a:gd name="connsiteY944" fmla="*/ 706902 h 1682495"/>
              <a:gd name="connsiteX945" fmla="*/ 1539552 w 8882887"/>
              <a:gd name="connsiteY945" fmla="*/ 706902 h 1682495"/>
              <a:gd name="connsiteX946" fmla="*/ 1558173 w 8882887"/>
              <a:gd name="connsiteY946" fmla="*/ 706902 h 1682495"/>
              <a:gd name="connsiteX947" fmla="*/ 1558173 w 8882887"/>
              <a:gd name="connsiteY947" fmla="*/ 535041 h 1682495"/>
              <a:gd name="connsiteX948" fmla="*/ 1564253 w 8882887"/>
              <a:gd name="connsiteY948" fmla="*/ 492885 h 1682495"/>
              <a:gd name="connsiteX949" fmla="*/ 1567293 w 8882887"/>
              <a:gd name="connsiteY949" fmla="*/ 492885 h 1682495"/>
              <a:gd name="connsiteX950" fmla="*/ 1588574 w 8882887"/>
              <a:gd name="connsiteY950" fmla="*/ 492885 h 1682495"/>
              <a:gd name="connsiteX951" fmla="*/ 1643294 w 8882887"/>
              <a:gd name="connsiteY951" fmla="*/ 369665 h 1682495"/>
              <a:gd name="connsiteX952" fmla="*/ 1649375 w 8882887"/>
              <a:gd name="connsiteY952" fmla="*/ 0 h 16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</a:cxnLst>
            <a:rect l="l" t="t" r="r" b="b"/>
            <a:pathLst>
              <a:path w="8882887" h="1682495">
                <a:moveTo>
                  <a:pt x="1649375" y="0"/>
                </a:moveTo>
                <a:cubicBezTo>
                  <a:pt x="1649375" y="27"/>
                  <a:pt x="1649399" y="3060"/>
                  <a:pt x="1652414" y="369665"/>
                </a:cubicBezTo>
                <a:cubicBezTo>
                  <a:pt x="1652432" y="369701"/>
                  <a:pt x="1653399" y="371712"/>
                  <a:pt x="1710174" y="489644"/>
                </a:cubicBezTo>
                <a:cubicBezTo>
                  <a:pt x="1710186" y="489644"/>
                  <a:pt x="1710353" y="489644"/>
                  <a:pt x="1713215" y="489644"/>
                </a:cubicBezTo>
                <a:lnTo>
                  <a:pt x="1734495" y="489644"/>
                </a:lnTo>
                <a:cubicBezTo>
                  <a:pt x="1734495" y="489665"/>
                  <a:pt x="1734495" y="490508"/>
                  <a:pt x="1734495" y="525312"/>
                </a:cubicBezTo>
                <a:cubicBezTo>
                  <a:pt x="1734498" y="525321"/>
                  <a:pt x="1734555" y="525408"/>
                  <a:pt x="1735256" y="526529"/>
                </a:cubicBezTo>
                <a:lnTo>
                  <a:pt x="1740575" y="535041"/>
                </a:lnTo>
                <a:cubicBezTo>
                  <a:pt x="1740575" y="535071"/>
                  <a:pt x="1740575" y="537344"/>
                  <a:pt x="1740575" y="706902"/>
                </a:cubicBezTo>
                <a:cubicBezTo>
                  <a:pt x="1740588" y="706902"/>
                  <a:pt x="1740798" y="706902"/>
                  <a:pt x="1743995" y="706902"/>
                </a:cubicBezTo>
                <a:lnTo>
                  <a:pt x="1767936" y="706902"/>
                </a:lnTo>
                <a:cubicBezTo>
                  <a:pt x="1767936" y="706932"/>
                  <a:pt x="1767936" y="709385"/>
                  <a:pt x="1767936" y="917675"/>
                </a:cubicBezTo>
                <a:cubicBezTo>
                  <a:pt x="1767951" y="917673"/>
                  <a:pt x="1768119" y="917642"/>
                  <a:pt x="1770216" y="917270"/>
                </a:cubicBezTo>
                <a:lnTo>
                  <a:pt x="1786176" y="914433"/>
                </a:lnTo>
                <a:cubicBezTo>
                  <a:pt x="1786176" y="914466"/>
                  <a:pt x="1786131" y="916467"/>
                  <a:pt x="1783136" y="1047381"/>
                </a:cubicBezTo>
                <a:cubicBezTo>
                  <a:pt x="1783151" y="1047384"/>
                  <a:pt x="1783317" y="1047414"/>
                  <a:pt x="1785416" y="1047788"/>
                </a:cubicBezTo>
                <a:lnTo>
                  <a:pt x="1801376" y="1050624"/>
                </a:lnTo>
                <a:cubicBezTo>
                  <a:pt x="1801379" y="1050635"/>
                  <a:pt x="1801409" y="1050731"/>
                  <a:pt x="1801755" y="1051841"/>
                </a:cubicBezTo>
                <a:lnTo>
                  <a:pt x="1804416" y="1060353"/>
                </a:lnTo>
                <a:cubicBezTo>
                  <a:pt x="1804419" y="1060340"/>
                  <a:pt x="1804487" y="1060125"/>
                  <a:pt x="1805556" y="1056705"/>
                </a:cubicBezTo>
                <a:lnTo>
                  <a:pt x="1813536" y="1031169"/>
                </a:lnTo>
                <a:cubicBezTo>
                  <a:pt x="1813547" y="1031169"/>
                  <a:pt x="1813697" y="1031169"/>
                  <a:pt x="1816196" y="1031169"/>
                </a:cubicBezTo>
                <a:lnTo>
                  <a:pt x="1834817" y="1031169"/>
                </a:lnTo>
                <a:cubicBezTo>
                  <a:pt x="1834817" y="1031195"/>
                  <a:pt x="1834817" y="1032234"/>
                  <a:pt x="1834817" y="1079808"/>
                </a:cubicBezTo>
                <a:cubicBezTo>
                  <a:pt x="1834826" y="1079816"/>
                  <a:pt x="1834941" y="1079876"/>
                  <a:pt x="1836336" y="1080620"/>
                </a:cubicBezTo>
                <a:lnTo>
                  <a:pt x="1846977" y="1086294"/>
                </a:lnTo>
                <a:cubicBezTo>
                  <a:pt x="1846977" y="1086308"/>
                  <a:pt x="1846977" y="1086459"/>
                  <a:pt x="1846977" y="1088321"/>
                </a:cubicBezTo>
                <a:lnTo>
                  <a:pt x="1846977" y="1102508"/>
                </a:lnTo>
                <a:cubicBezTo>
                  <a:pt x="1847007" y="1102508"/>
                  <a:pt x="1848369" y="1102508"/>
                  <a:pt x="1913858" y="1102508"/>
                </a:cubicBezTo>
                <a:cubicBezTo>
                  <a:pt x="1913858" y="1102520"/>
                  <a:pt x="1913858" y="1102644"/>
                  <a:pt x="1913858" y="1104129"/>
                </a:cubicBezTo>
                <a:lnTo>
                  <a:pt x="1913858" y="1115478"/>
                </a:lnTo>
                <a:cubicBezTo>
                  <a:pt x="1913871" y="1115478"/>
                  <a:pt x="1914053" y="1115478"/>
                  <a:pt x="1916897" y="1115478"/>
                </a:cubicBezTo>
                <a:lnTo>
                  <a:pt x="1938177" y="1115478"/>
                </a:lnTo>
                <a:cubicBezTo>
                  <a:pt x="1938177" y="1115451"/>
                  <a:pt x="1938177" y="1114358"/>
                  <a:pt x="1938177" y="1070081"/>
                </a:cubicBezTo>
                <a:cubicBezTo>
                  <a:pt x="1938209" y="1070081"/>
                  <a:pt x="1939604" y="1070081"/>
                  <a:pt x="2005058" y="1070081"/>
                </a:cubicBezTo>
                <a:cubicBezTo>
                  <a:pt x="2005058" y="1070069"/>
                  <a:pt x="2005058" y="1069923"/>
                  <a:pt x="2005058" y="1068054"/>
                </a:cubicBezTo>
                <a:lnTo>
                  <a:pt x="2005058" y="1053867"/>
                </a:lnTo>
                <a:cubicBezTo>
                  <a:pt x="2005067" y="1053867"/>
                  <a:pt x="2005178" y="1053867"/>
                  <a:pt x="2006579" y="1053867"/>
                </a:cubicBezTo>
                <a:lnTo>
                  <a:pt x="2017218" y="1053867"/>
                </a:lnTo>
                <a:cubicBezTo>
                  <a:pt x="2017218" y="1053857"/>
                  <a:pt x="2017218" y="1053687"/>
                  <a:pt x="2017218" y="1051031"/>
                </a:cubicBezTo>
                <a:lnTo>
                  <a:pt x="2017218" y="1031169"/>
                </a:lnTo>
                <a:cubicBezTo>
                  <a:pt x="2017232" y="1031169"/>
                  <a:pt x="2017340" y="1031169"/>
                  <a:pt x="2018358" y="1031169"/>
                </a:cubicBezTo>
                <a:lnTo>
                  <a:pt x="2026338" y="1031169"/>
                </a:lnTo>
                <a:cubicBezTo>
                  <a:pt x="2026338" y="1031159"/>
                  <a:pt x="2026338" y="1031031"/>
                  <a:pt x="2026338" y="1029548"/>
                </a:cubicBezTo>
                <a:lnTo>
                  <a:pt x="2026338" y="1018197"/>
                </a:lnTo>
                <a:cubicBezTo>
                  <a:pt x="2026350" y="1018197"/>
                  <a:pt x="2026536" y="1018197"/>
                  <a:pt x="2029379" y="1018197"/>
                </a:cubicBezTo>
                <a:lnTo>
                  <a:pt x="2050659" y="1018197"/>
                </a:lnTo>
                <a:cubicBezTo>
                  <a:pt x="2050659" y="1018208"/>
                  <a:pt x="2050659" y="1018323"/>
                  <a:pt x="2050659" y="1019819"/>
                </a:cubicBezTo>
                <a:lnTo>
                  <a:pt x="2050659" y="1031169"/>
                </a:lnTo>
                <a:cubicBezTo>
                  <a:pt x="2050676" y="1031169"/>
                  <a:pt x="2051427" y="1031169"/>
                  <a:pt x="2084099" y="1031169"/>
                </a:cubicBezTo>
                <a:cubicBezTo>
                  <a:pt x="2084099" y="1031157"/>
                  <a:pt x="2084099" y="1030986"/>
                  <a:pt x="2084099" y="1028331"/>
                </a:cubicBezTo>
                <a:lnTo>
                  <a:pt x="2084099" y="1008470"/>
                </a:lnTo>
                <a:cubicBezTo>
                  <a:pt x="2084108" y="1008470"/>
                  <a:pt x="2084253" y="1008470"/>
                  <a:pt x="2086760" y="1008470"/>
                </a:cubicBezTo>
                <a:lnTo>
                  <a:pt x="2105379" y="1008470"/>
                </a:lnTo>
                <a:cubicBezTo>
                  <a:pt x="2105379" y="1008488"/>
                  <a:pt x="2105379" y="1009259"/>
                  <a:pt x="2105379" y="1044140"/>
                </a:cubicBezTo>
                <a:cubicBezTo>
                  <a:pt x="2105390" y="1044140"/>
                  <a:pt x="2105510" y="1044140"/>
                  <a:pt x="2106900" y="1044140"/>
                </a:cubicBezTo>
                <a:lnTo>
                  <a:pt x="2117540" y="1044140"/>
                </a:lnTo>
                <a:cubicBezTo>
                  <a:pt x="2117540" y="1044131"/>
                  <a:pt x="2117540" y="1044009"/>
                  <a:pt x="2117540" y="1042518"/>
                </a:cubicBezTo>
                <a:lnTo>
                  <a:pt x="2117540" y="1031169"/>
                </a:lnTo>
                <a:cubicBezTo>
                  <a:pt x="2117553" y="1031169"/>
                  <a:pt x="2117730" y="1031169"/>
                  <a:pt x="2120199" y="1031169"/>
                </a:cubicBezTo>
                <a:lnTo>
                  <a:pt x="2138820" y="1031169"/>
                </a:lnTo>
                <a:cubicBezTo>
                  <a:pt x="2138820" y="1031189"/>
                  <a:pt x="2138820" y="1032027"/>
                  <a:pt x="2138820" y="1070081"/>
                </a:cubicBezTo>
                <a:cubicBezTo>
                  <a:pt x="2138832" y="1070081"/>
                  <a:pt x="2139009" y="1070081"/>
                  <a:pt x="2141861" y="1070081"/>
                </a:cubicBezTo>
                <a:lnTo>
                  <a:pt x="2163140" y="1070081"/>
                </a:lnTo>
                <a:cubicBezTo>
                  <a:pt x="2163140" y="1070097"/>
                  <a:pt x="2163140" y="1070270"/>
                  <a:pt x="2163140" y="1072512"/>
                </a:cubicBezTo>
                <a:lnTo>
                  <a:pt x="2163140" y="1089537"/>
                </a:lnTo>
                <a:cubicBezTo>
                  <a:pt x="2163152" y="1089537"/>
                  <a:pt x="2163258" y="1089537"/>
                  <a:pt x="2164280" y="1089537"/>
                </a:cubicBezTo>
                <a:lnTo>
                  <a:pt x="2172261" y="1089537"/>
                </a:lnTo>
                <a:cubicBezTo>
                  <a:pt x="2172261" y="1089525"/>
                  <a:pt x="2172261" y="1089411"/>
                  <a:pt x="2172261" y="1088321"/>
                </a:cubicBezTo>
                <a:lnTo>
                  <a:pt x="2172261" y="1079808"/>
                </a:lnTo>
                <a:cubicBezTo>
                  <a:pt x="2172287" y="1079808"/>
                  <a:pt x="2173365" y="1079808"/>
                  <a:pt x="2217861" y="1079808"/>
                </a:cubicBezTo>
                <a:cubicBezTo>
                  <a:pt x="2217861" y="1079829"/>
                  <a:pt x="2217861" y="1080674"/>
                  <a:pt x="2217861" y="1115478"/>
                </a:cubicBezTo>
                <a:cubicBezTo>
                  <a:pt x="2217872" y="1115478"/>
                  <a:pt x="2217990" y="1115478"/>
                  <a:pt x="2219381" y="1115478"/>
                </a:cubicBezTo>
                <a:lnTo>
                  <a:pt x="2230022" y="1115478"/>
                </a:lnTo>
                <a:cubicBezTo>
                  <a:pt x="2230022" y="1115489"/>
                  <a:pt x="2230022" y="1115598"/>
                  <a:pt x="2230022" y="1117100"/>
                </a:cubicBezTo>
                <a:lnTo>
                  <a:pt x="2230022" y="1128449"/>
                </a:lnTo>
                <a:cubicBezTo>
                  <a:pt x="2230035" y="1128449"/>
                  <a:pt x="2230145" y="1128449"/>
                  <a:pt x="2231162" y="1128449"/>
                </a:cubicBezTo>
                <a:lnTo>
                  <a:pt x="2239142" y="1128449"/>
                </a:lnTo>
                <a:cubicBezTo>
                  <a:pt x="2239142" y="1128438"/>
                  <a:pt x="2239142" y="1128258"/>
                  <a:pt x="2239142" y="1125206"/>
                </a:cubicBezTo>
                <a:lnTo>
                  <a:pt x="2239142" y="1102508"/>
                </a:lnTo>
                <a:cubicBezTo>
                  <a:pt x="2239152" y="1102508"/>
                  <a:pt x="2239269" y="1102508"/>
                  <a:pt x="2240661" y="1102508"/>
                </a:cubicBezTo>
                <a:lnTo>
                  <a:pt x="2251302" y="1102508"/>
                </a:lnTo>
                <a:cubicBezTo>
                  <a:pt x="2251302" y="1102520"/>
                  <a:pt x="2251302" y="1102644"/>
                  <a:pt x="2251302" y="1104129"/>
                </a:cubicBezTo>
                <a:lnTo>
                  <a:pt x="2251302" y="1115478"/>
                </a:lnTo>
                <a:lnTo>
                  <a:pt x="2259282" y="1112489"/>
                </a:lnTo>
                <a:cubicBezTo>
                  <a:pt x="2260422" y="1111931"/>
                  <a:pt x="2260422" y="1111628"/>
                  <a:pt x="2260422" y="1111019"/>
                </a:cubicBezTo>
                <a:lnTo>
                  <a:pt x="2260422" y="1102508"/>
                </a:lnTo>
                <a:cubicBezTo>
                  <a:pt x="2260448" y="1102508"/>
                  <a:pt x="2261649" y="1102508"/>
                  <a:pt x="2318183" y="1102508"/>
                </a:cubicBezTo>
                <a:cubicBezTo>
                  <a:pt x="2318183" y="1102529"/>
                  <a:pt x="2318183" y="1103349"/>
                  <a:pt x="2318183" y="1138176"/>
                </a:cubicBezTo>
                <a:cubicBezTo>
                  <a:pt x="2318195" y="1138176"/>
                  <a:pt x="2318372" y="1138176"/>
                  <a:pt x="2321222" y="1138176"/>
                </a:cubicBezTo>
                <a:lnTo>
                  <a:pt x="2342502" y="1138176"/>
                </a:lnTo>
                <a:cubicBezTo>
                  <a:pt x="2342502" y="1138188"/>
                  <a:pt x="2342502" y="1138311"/>
                  <a:pt x="2342502" y="1139798"/>
                </a:cubicBezTo>
                <a:lnTo>
                  <a:pt x="2342502" y="1151147"/>
                </a:lnTo>
                <a:cubicBezTo>
                  <a:pt x="2342516" y="1151147"/>
                  <a:pt x="2342700" y="1151147"/>
                  <a:pt x="2345163" y="1151147"/>
                </a:cubicBezTo>
                <a:lnTo>
                  <a:pt x="2363783" y="1151147"/>
                </a:lnTo>
                <a:cubicBezTo>
                  <a:pt x="2363783" y="1151129"/>
                  <a:pt x="2363783" y="1150362"/>
                  <a:pt x="2363783" y="1115478"/>
                </a:cubicBezTo>
                <a:cubicBezTo>
                  <a:pt x="2363793" y="1115478"/>
                  <a:pt x="2363910" y="1115478"/>
                  <a:pt x="2365302" y="1115478"/>
                </a:cubicBezTo>
                <a:lnTo>
                  <a:pt x="2375943" y="1115478"/>
                </a:lnTo>
                <a:cubicBezTo>
                  <a:pt x="2375943" y="1115450"/>
                  <a:pt x="2375943" y="1114293"/>
                  <a:pt x="2375943" y="1066838"/>
                </a:cubicBezTo>
                <a:cubicBezTo>
                  <a:pt x="2375954" y="1066838"/>
                  <a:pt x="2376069" y="1066838"/>
                  <a:pt x="2377463" y="1066838"/>
                </a:cubicBezTo>
                <a:lnTo>
                  <a:pt x="2388104" y="1066838"/>
                </a:lnTo>
                <a:cubicBezTo>
                  <a:pt x="2388104" y="1066829"/>
                  <a:pt x="2388104" y="1066665"/>
                  <a:pt x="2388104" y="1064001"/>
                </a:cubicBezTo>
                <a:lnTo>
                  <a:pt x="2388104" y="1044140"/>
                </a:lnTo>
                <a:cubicBezTo>
                  <a:pt x="2385063" y="1044140"/>
                  <a:pt x="2385063" y="1044140"/>
                  <a:pt x="2386203" y="1041707"/>
                </a:cubicBezTo>
                <a:lnTo>
                  <a:pt x="2394183" y="1024683"/>
                </a:lnTo>
                <a:cubicBezTo>
                  <a:pt x="2394191" y="1024709"/>
                  <a:pt x="2394483" y="1025720"/>
                  <a:pt x="2406344" y="1066838"/>
                </a:cubicBezTo>
                <a:cubicBezTo>
                  <a:pt x="2406356" y="1066838"/>
                  <a:pt x="2406465" y="1066838"/>
                  <a:pt x="2407484" y="1066838"/>
                </a:cubicBezTo>
                <a:lnTo>
                  <a:pt x="2415464" y="1066838"/>
                </a:lnTo>
                <a:cubicBezTo>
                  <a:pt x="2415464" y="1066818"/>
                  <a:pt x="2415464" y="1065050"/>
                  <a:pt x="2415464" y="907947"/>
                </a:cubicBezTo>
                <a:cubicBezTo>
                  <a:pt x="2415479" y="907947"/>
                  <a:pt x="2415650" y="907947"/>
                  <a:pt x="2417744" y="907947"/>
                </a:cubicBezTo>
                <a:lnTo>
                  <a:pt x="2433704" y="907947"/>
                </a:lnTo>
                <a:cubicBezTo>
                  <a:pt x="2433704" y="907914"/>
                  <a:pt x="2433704" y="906399"/>
                  <a:pt x="2433704" y="836609"/>
                </a:cubicBezTo>
                <a:cubicBezTo>
                  <a:pt x="2433729" y="836609"/>
                  <a:pt x="2434667" y="836609"/>
                  <a:pt x="2473224" y="836609"/>
                </a:cubicBezTo>
                <a:cubicBezTo>
                  <a:pt x="2473224" y="836591"/>
                  <a:pt x="2473224" y="835826"/>
                  <a:pt x="2473224" y="804182"/>
                </a:cubicBezTo>
                <a:cubicBezTo>
                  <a:pt x="2473253" y="804182"/>
                  <a:pt x="2474436" y="804182"/>
                  <a:pt x="2524905" y="804182"/>
                </a:cubicBezTo>
                <a:cubicBezTo>
                  <a:pt x="2524905" y="804194"/>
                  <a:pt x="2524905" y="804389"/>
                  <a:pt x="2524905" y="807830"/>
                </a:cubicBezTo>
                <a:lnTo>
                  <a:pt x="2524905" y="833366"/>
                </a:lnTo>
                <a:cubicBezTo>
                  <a:pt x="2524919" y="833366"/>
                  <a:pt x="2525115" y="833366"/>
                  <a:pt x="2528325" y="833366"/>
                </a:cubicBezTo>
                <a:lnTo>
                  <a:pt x="2552265" y="833366"/>
                </a:lnTo>
                <a:cubicBezTo>
                  <a:pt x="2552265" y="833393"/>
                  <a:pt x="2552265" y="834734"/>
                  <a:pt x="2552265" y="904704"/>
                </a:cubicBezTo>
                <a:cubicBezTo>
                  <a:pt x="2552274" y="904704"/>
                  <a:pt x="2552388" y="904704"/>
                  <a:pt x="2553785" y="904704"/>
                </a:cubicBezTo>
                <a:lnTo>
                  <a:pt x="2564426" y="904704"/>
                </a:lnTo>
                <a:lnTo>
                  <a:pt x="2585706" y="911190"/>
                </a:lnTo>
                <a:cubicBezTo>
                  <a:pt x="2585706" y="911205"/>
                  <a:pt x="2585706" y="912180"/>
                  <a:pt x="2585706" y="969558"/>
                </a:cubicBezTo>
                <a:cubicBezTo>
                  <a:pt x="2585715" y="969558"/>
                  <a:pt x="2585828" y="969558"/>
                  <a:pt x="2587226" y="969558"/>
                </a:cubicBezTo>
                <a:lnTo>
                  <a:pt x="2597865" y="969558"/>
                </a:lnTo>
                <a:cubicBezTo>
                  <a:pt x="2597865" y="969573"/>
                  <a:pt x="2597865" y="969732"/>
                  <a:pt x="2597865" y="971990"/>
                </a:cubicBezTo>
                <a:lnTo>
                  <a:pt x="2597865" y="989013"/>
                </a:lnTo>
                <a:cubicBezTo>
                  <a:pt x="2597877" y="989013"/>
                  <a:pt x="2598063" y="989013"/>
                  <a:pt x="2600906" y="989013"/>
                </a:cubicBezTo>
                <a:lnTo>
                  <a:pt x="2622186" y="989013"/>
                </a:lnTo>
                <a:lnTo>
                  <a:pt x="2631306" y="998742"/>
                </a:lnTo>
                <a:cubicBezTo>
                  <a:pt x="2631306" y="998760"/>
                  <a:pt x="2631306" y="999489"/>
                  <a:pt x="2631306" y="1031169"/>
                </a:cubicBezTo>
                <a:cubicBezTo>
                  <a:pt x="2631320" y="1031169"/>
                  <a:pt x="2631516" y="1031169"/>
                  <a:pt x="2634726" y="1031169"/>
                </a:cubicBezTo>
                <a:lnTo>
                  <a:pt x="2658666" y="1031169"/>
                </a:lnTo>
                <a:cubicBezTo>
                  <a:pt x="2658666" y="1031180"/>
                  <a:pt x="2658666" y="1031300"/>
                  <a:pt x="2658666" y="1032789"/>
                </a:cubicBezTo>
                <a:lnTo>
                  <a:pt x="2658666" y="1044140"/>
                </a:lnTo>
                <a:cubicBezTo>
                  <a:pt x="2658680" y="1044140"/>
                  <a:pt x="2658828" y="1044140"/>
                  <a:pt x="2660567" y="1044140"/>
                </a:cubicBezTo>
                <a:lnTo>
                  <a:pt x="2673867" y="1044140"/>
                </a:lnTo>
                <a:cubicBezTo>
                  <a:pt x="2673867" y="1044153"/>
                  <a:pt x="2673867" y="1044347"/>
                  <a:pt x="2673867" y="1047381"/>
                </a:cubicBezTo>
                <a:lnTo>
                  <a:pt x="2673867" y="1070081"/>
                </a:lnTo>
                <a:cubicBezTo>
                  <a:pt x="2679947" y="1070081"/>
                  <a:pt x="2679947" y="1070081"/>
                  <a:pt x="2679947" y="1067243"/>
                </a:cubicBezTo>
                <a:lnTo>
                  <a:pt x="2679947" y="1047381"/>
                </a:lnTo>
                <a:cubicBezTo>
                  <a:pt x="2679956" y="1047381"/>
                  <a:pt x="2680073" y="1047381"/>
                  <a:pt x="2681466" y="1047381"/>
                </a:cubicBezTo>
                <a:lnTo>
                  <a:pt x="2692107" y="1047381"/>
                </a:lnTo>
                <a:cubicBezTo>
                  <a:pt x="2692107" y="1047398"/>
                  <a:pt x="2692107" y="1047576"/>
                  <a:pt x="2692107" y="1049814"/>
                </a:cubicBezTo>
                <a:lnTo>
                  <a:pt x="2692107" y="1066838"/>
                </a:lnTo>
                <a:cubicBezTo>
                  <a:pt x="2692121" y="1066838"/>
                  <a:pt x="2692230" y="1066838"/>
                  <a:pt x="2693247" y="1066838"/>
                </a:cubicBezTo>
                <a:lnTo>
                  <a:pt x="2701227" y="1066838"/>
                </a:lnTo>
                <a:cubicBezTo>
                  <a:pt x="2701227" y="1060353"/>
                  <a:pt x="2701227" y="1060353"/>
                  <a:pt x="2774187" y="1060353"/>
                </a:cubicBezTo>
                <a:cubicBezTo>
                  <a:pt x="2774187" y="1060367"/>
                  <a:pt x="2774187" y="1060518"/>
                  <a:pt x="2774187" y="1062380"/>
                </a:cubicBezTo>
                <a:lnTo>
                  <a:pt x="2774187" y="1076565"/>
                </a:lnTo>
                <a:cubicBezTo>
                  <a:pt x="2774199" y="1076565"/>
                  <a:pt x="2774312" y="1076565"/>
                  <a:pt x="2775327" y="1076565"/>
                </a:cubicBezTo>
                <a:lnTo>
                  <a:pt x="2783309" y="1076565"/>
                </a:lnTo>
                <a:cubicBezTo>
                  <a:pt x="2783309" y="1076579"/>
                  <a:pt x="2783309" y="1076762"/>
                  <a:pt x="2783309" y="1079808"/>
                </a:cubicBezTo>
                <a:lnTo>
                  <a:pt x="2783309" y="1102508"/>
                </a:lnTo>
                <a:cubicBezTo>
                  <a:pt x="2783321" y="1102502"/>
                  <a:pt x="2783495" y="1102385"/>
                  <a:pt x="2786348" y="1100481"/>
                </a:cubicBezTo>
                <a:lnTo>
                  <a:pt x="2807628" y="1086294"/>
                </a:lnTo>
                <a:cubicBezTo>
                  <a:pt x="2807631" y="1086266"/>
                  <a:pt x="2807828" y="1084953"/>
                  <a:pt x="2816748" y="1024683"/>
                </a:cubicBezTo>
                <a:cubicBezTo>
                  <a:pt x="2816762" y="1024680"/>
                  <a:pt x="2816865" y="1024641"/>
                  <a:pt x="2817888" y="1024278"/>
                </a:cubicBezTo>
                <a:lnTo>
                  <a:pt x="2825868" y="1021440"/>
                </a:lnTo>
                <a:cubicBezTo>
                  <a:pt x="2825868" y="1021416"/>
                  <a:pt x="2825918" y="1019825"/>
                  <a:pt x="2828909" y="917675"/>
                </a:cubicBezTo>
                <a:cubicBezTo>
                  <a:pt x="2828909" y="917702"/>
                  <a:pt x="2828958" y="919338"/>
                  <a:pt x="2831949" y="1021440"/>
                </a:cubicBezTo>
                <a:cubicBezTo>
                  <a:pt x="2831963" y="1021445"/>
                  <a:pt x="2832069" y="1021482"/>
                  <a:pt x="2833089" y="1021845"/>
                </a:cubicBezTo>
                <a:lnTo>
                  <a:pt x="2841069" y="1024683"/>
                </a:lnTo>
                <a:cubicBezTo>
                  <a:pt x="2841069" y="1024653"/>
                  <a:pt x="2841069" y="1022654"/>
                  <a:pt x="2841069" y="894977"/>
                </a:cubicBezTo>
                <a:cubicBezTo>
                  <a:pt x="2847149" y="894977"/>
                  <a:pt x="2847149" y="894977"/>
                  <a:pt x="2847149" y="846336"/>
                </a:cubicBezTo>
                <a:cubicBezTo>
                  <a:pt x="2847167" y="846336"/>
                  <a:pt x="2848196" y="846336"/>
                  <a:pt x="2904909" y="846336"/>
                </a:cubicBezTo>
                <a:cubicBezTo>
                  <a:pt x="2904909" y="846362"/>
                  <a:pt x="2904909" y="847439"/>
                  <a:pt x="2904909" y="894977"/>
                </a:cubicBezTo>
                <a:cubicBezTo>
                  <a:pt x="2904923" y="894977"/>
                  <a:pt x="2905031" y="894977"/>
                  <a:pt x="2906049" y="894977"/>
                </a:cubicBezTo>
                <a:lnTo>
                  <a:pt x="2914029" y="894977"/>
                </a:lnTo>
                <a:cubicBezTo>
                  <a:pt x="2914029" y="894945"/>
                  <a:pt x="2914029" y="892986"/>
                  <a:pt x="2914029" y="771755"/>
                </a:cubicBezTo>
                <a:cubicBezTo>
                  <a:pt x="2914038" y="771755"/>
                  <a:pt x="2914187" y="771755"/>
                  <a:pt x="2916690" y="771755"/>
                </a:cubicBezTo>
                <a:lnTo>
                  <a:pt x="2935310" y="771755"/>
                </a:lnTo>
                <a:cubicBezTo>
                  <a:pt x="2935310" y="771744"/>
                  <a:pt x="2935310" y="771578"/>
                  <a:pt x="2935310" y="768918"/>
                </a:cubicBezTo>
                <a:lnTo>
                  <a:pt x="2935310" y="749057"/>
                </a:lnTo>
                <a:cubicBezTo>
                  <a:pt x="2935326" y="749057"/>
                  <a:pt x="2936073" y="749057"/>
                  <a:pt x="2968751" y="749057"/>
                </a:cubicBezTo>
                <a:cubicBezTo>
                  <a:pt x="2968751" y="749046"/>
                  <a:pt x="2968751" y="748925"/>
                  <a:pt x="2968751" y="747435"/>
                </a:cubicBezTo>
                <a:lnTo>
                  <a:pt x="2968751" y="736086"/>
                </a:lnTo>
                <a:cubicBezTo>
                  <a:pt x="2968761" y="736086"/>
                  <a:pt x="2968926" y="736086"/>
                  <a:pt x="2971410" y="736086"/>
                </a:cubicBezTo>
                <a:lnTo>
                  <a:pt x="2990031" y="736086"/>
                </a:lnTo>
                <a:cubicBezTo>
                  <a:pt x="2990031" y="736098"/>
                  <a:pt x="2990031" y="736217"/>
                  <a:pt x="2990031" y="737708"/>
                </a:cubicBezTo>
                <a:lnTo>
                  <a:pt x="2990031" y="749057"/>
                </a:lnTo>
                <a:cubicBezTo>
                  <a:pt x="2990045" y="749057"/>
                  <a:pt x="2990154" y="749057"/>
                  <a:pt x="2991171" y="749057"/>
                </a:cubicBezTo>
                <a:lnTo>
                  <a:pt x="2999151" y="749057"/>
                </a:lnTo>
                <a:lnTo>
                  <a:pt x="3014351" y="742571"/>
                </a:lnTo>
                <a:lnTo>
                  <a:pt x="3020430" y="747435"/>
                </a:lnTo>
                <a:lnTo>
                  <a:pt x="3020430" y="736086"/>
                </a:lnTo>
                <a:cubicBezTo>
                  <a:pt x="3020444" y="736086"/>
                  <a:pt x="3020649" y="736086"/>
                  <a:pt x="3023850" y="736086"/>
                </a:cubicBezTo>
                <a:lnTo>
                  <a:pt x="3047792" y="736086"/>
                </a:lnTo>
                <a:cubicBezTo>
                  <a:pt x="3047792" y="736098"/>
                  <a:pt x="3047792" y="736217"/>
                  <a:pt x="3047792" y="737708"/>
                </a:cubicBezTo>
                <a:lnTo>
                  <a:pt x="3047792" y="749057"/>
                </a:lnTo>
                <a:cubicBezTo>
                  <a:pt x="3047820" y="749057"/>
                  <a:pt x="3048924" y="749057"/>
                  <a:pt x="3093392" y="749057"/>
                </a:cubicBezTo>
                <a:cubicBezTo>
                  <a:pt x="3093392" y="749072"/>
                  <a:pt x="3093392" y="749235"/>
                  <a:pt x="3093392" y="751488"/>
                </a:cubicBezTo>
                <a:lnTo>
                  <a:pt x="3093392" y="768513"/>
                </a:lnTo>
                <a:cubicBezTo>
                  <a:pt x="3093417" y="768513"/>
                  <a:pt x="3094377" y="768513"/>
                  <a:pt x="3132912" y="768513"/>
                </a:cubicBezTo>
                <a:cubicBezTo>
                  <a:pt x="3132912" y="768537"/>
                  <a:pt x="3132912" y="769557"/>
                  <a:pt x="3132912" y="813909"/>
                </a:cubicBezTo>
                <a:cubicBezTo>
                  <a:pt x="3132926" y="813909"/>
                  <a:pt x="3133035" y="813909"/>
                  <a:pt x="3134052" y="813909"/>
                </a:cubicBezTo>
                <a:lnTo>
                  <a:pt x="3142032" y="813909"/>
                </a:lnTo>
                <a:cubicBezTo>
                  <a:pt x="3142032" y="813920"/>
                  <a:pt x="3142032" y="814049"/>
                  <a:pt x="3142032" y="815531"/>
                </a:cubicBezTo>
                <a:lnTo>
                  <a:pt x="3142032" y="826881"/>
                </a:lnTo>
                <a:cubicBezTo>
                  <a:pt x="3148113" y="826881"/>
                  <a:pt x="3148113" y="826881"/>
                  <a:pt x="3148113" y="872277"/>
                </a:cubicBezTo>
                <a:cubicBezTo>
                  <a:pt x="3148127" y="872277"/>
                  <a:pt x="3148238" y="872277"/>
                  <a:pt x="3149253" y="872277"/>
                </a:cubicBezTo>
                <a:lnTo>
                  <a:pt x="3157233" y="872277"/>
                </a:lnTo>
                <a:cubicBezTo>
                  <a:pt x="3157233" y="872291"/>
                  <a:pt x="3157233" y="872391"/>
                  <a:pt x="3157233" y="873494"/>
                </a:cubicBezTo>
                <a:lnTo>
                  <a:pt x="3157233" y="882006"/>
                </a:lnTo>
                <a:cubicBezTo>
                  <a:pt x="3157242" y="882006"/>
                  <a:pt x="3157359" y="882006"/>
                  <a:pt x="3158753" y="882006"/>
                </a:cubicBezTo>
                <a:lnTo>
                  <a:pt x="3169392" y="882006"/>
                </a:lnTo>
                <a:cubicBezTo>
                  <a:pt x="3169392" y="882032"/>
                  <a:pt x="3169392" y="883101"/>
                  <a:pt x="3169392" y="927404"/>
                </a:cubicBezTo>
                <a:cubicBezTo>
                  <a:pt x="3169404" y="927404"/>
                  <a:pt x="3169584" y="927404"/>
                  <a:pt x="3172433" y="927404"/>
                </a:cubicBezTo>
                <a:lnTo>
                  <a:pt x="3193713" y="927404"/>
                </a:lnTo>
                <a:cubicBezTo>
                  <a:pt x="3193713" y="927428"/>
                  <a:pt x="3193713" y="928298"/>
                  <a:pt x="3193713" y="963072"/>
                </a:cubicBezTo>
                <a:cubicBezTo>
                  <a:pt x="3196754" y="963072"/>
                  <a:pt x="3196754" y="963072"/>
                  <a:pt x="3196754" y="965504"/>
                </a:cubicBezTo>
                <a:lnTo>
                  <a:pt x="3196754" y="982529"/>
                </a:lnTo>
                <a:cubicBezTo>
                  <a:pt x="3196767" y="982529"/>
                  <a:pt x="3196872" y="982529"/>
                  <a:pt x="3197894" y="982529"/>
                </a:cubicBezTo>
                <a:lnTo>
                  <a:pt x="3205874" y="982529"/>
                </a:lnTo>
                <a:cubicBezTo>
                  <a:pt x="3205874" y="982550"/>
                  <a:pt x="3205874" y="983394"/>
                  <a:pt x="3205874" y="1018197"/>
                </a:cubicBezTo>
                <a:cubicBezTo>
                  <a:pt x="3205886" y="1018197"/>
                  <a:pt x="3206034" y="1018197"/>
                  <a:pt x="3207773" y="1018197"/>
                </a:cubicBezTo>
                <a:lnTo>
                  <a:pt x="3221073" y="1018197"/>
                </a:lnTo>
                <a:cubicBezTo>
                  <a:pt x="3224114" y="1021440"/>
                  <a:pt x="3224114" y="1021440"/>
                  <a:pt x="3224114" y="1024278"/>
                </a:cubicBezTo>
                <a:lnTo>
                  <a:pt x="3224114" y="1044140"/>
                </a:lnTo>
                <a:cubicBezTo>
                  <a:pt x="3224121" y="1044129"/>
                  <a:pt x="3224252" y="1043969"/>
                  <a:pt x="3226394" y="1041302"/>
                </a:cubicBezTo>
                <a:lnTo>
                  <a:pt x="3242354" y="1021440"/>
                </a:lnTo>
                <a:cubicBezTo>
                  <a:pt x="3242376" y="1021440"/>
                  <a:pt x="3243335" y="1021440"/>
                  <a:pt x="3284915" y="1021440"/>
                </a:cubicBezTo>
                <a:cubicBezTo>
                  <a:pt x="3284915" y="1021478"/>
                  <a:pt x="3284915" y="1023579"/>
                  <a:pt x="3284915" y="1151147"/>
                </a:cubicBezTo>
                <a:cubicBezTo>
                  <a:pt x="3284927" y="1151147"/>
                  <a:pt x="3285041" y="1151147"/>
                  <a:pt x="3286055" y="1151147"/>
                </a:cubicBezTo>
                <a:lnTo>
                  <a:pt x="3294035" y="1151147"/>
                </a:lnTo>
                <a:cubicBezTo>
                  <a:pt x="3294041" y="1151135"/>
                  <a:pt x="3294129" y="1150985"/>
                  <a:pt x="3295175" y="1149120"/>
                </a:cubicBezTo>
                <a:lnTo>
                  <a:pt x="3303155" y="1134933"/>
                </a:lnTo>
                <a:cubicBezTo>
                  <a:pt x="3303155" y="1134944"/>
                  <a:pt x="3303155" y="1135092"/>
                  <a:pt x="3303155" y="1137771"/>
                </a:cubicBezTo>
                <a:lnTo>
                  <a:pt x="3303155" y="1157633"/>
                </a:lnTo>
                <a:cubicBezTo>
                  <a:pt x="3309234" y="1157633"/>
                  <a:pt x="3309234" y="1157633"/>
                  <a:pt x="3309234" y="1089537"/>
                </a:cubicBezTo>
                <a:cubicBezTo>
                  <a:pt x="3309248" y="1089537"/>
                  <a:pt x="3309353" y="1089537"/>
                  <a:pt x="3310374" y="1089537"/>
                </a:cubicBezTo>
                <a:lnTo>
                  <a:pt x="3318354" y="1089537"/>
                </a:lnTo>
                <a:cubicBezTo>
                  <a:pt x="3318354" y="1089515"/>
                  <a:pt x="3318354" y="1088015"/>
                  <a:pt x="3318354" y="992256"/>
                </a:cubicBezTo>
                <a:cubicBezTo>
                  <a:pt x="3318365" y="992256"/>
                  <a:pt x="3318486" y="992256"/>
                  <a:pt x="3319875" y="992256"/>
                </a:cubicBezTo>
                <a:lnTo>
                  <a:pt x="3330515" y="992256"/>
                </a:lnTo>
                <a:cubicBezTo>
                  <a:pt x="3330524" y="992225"/>
                  <a:pt x="3330920" y="990815"/>
                  <a:pt x="3348755" y="927404"/>
                </a:cubicBezTo>
                <a:cubicBezTo>
                  <a:pt x="3348768" y="927404"/>
                  <a:pt x="3348914" y="927404"/>
                  <a:pt x="3350655" y="927404"/>
                </a:cubicBezTo>
                <a:lnTo>
                  <a:pt x="3363956" y="927404"/>
                </a:lnTo>
                <a:cubicBezTo>
                  <a:pt x="3363963" y="927438"/>
                  <a:pt x="3364302" y="928887"/>
                  <a:pt x="3379155" y="992256"/>
                </a:cubicBezTo>
                <a:cubicBezTo>
                  <a:pt x="3379164" y="992256"/>
                  <a:pt x="3379275" y="992256"/>
                  <a:pt x="3380675" y="992256"/>
                </a:cubicBezTo>
                <a:lnTo>
                  <a:pt x="3391316" y="992256"/>
                </a:lnTo>
                <a:cubicBezTo>
                  <a:pt x="3391316" y="992273"/>
                  <a:pt x="3391316" y="993273"/>
                  <a:pt x="3391316" y="1050624"/>
                </a:cubicBezTo>
                <a:cubicBezTo>
                  <a:pt x="3391326" y="1050624"/>
                  <a:pt x="3391475" y="1050624"/>
                  <a:pt x="3393975" y="1050624"/>
                </a:cubicBezTo>
                <a:lnTo>
                  <a:pt x="3412596" y="1050624"/>
                </a:lnTo>
                <a:cubicBezTo>
                  <a:pt x="3412596" y="1050636"/>
                  <a:pt x="3412596" y="1050819"/>
                  <a:pt x="3412596" y="1053867"/>
                </a:cubicBezTo>
                <a:lnTo>
                  <a:pt x="3412596" y="1076565"/>
                </a:lnTo>
                <a:cubicBezTo>
                  <a:pt x="3418676" y="1076565"/>
                  <a:pt x="3418676" y="1076565"/>
                  <a:pt x="3418676" y="1073324"/>
                </a:cubicBezTo>
                <a:lnTo>
                  <a:pt x="3418676" y="1050624"/>
                </a:lnTo>
                <a:cubicBezTo>
                  <a:pt x="3418691" y="1050624"/>
                  <a:pt x="3418859" y="1050624"/>
                  <a:pt x="3420956" y="1050624"/>
                </a:cubicBezTo>
                <a:lnTo>
                  <a:pt x="3436916" y="1050624"/>
                </a:lnTo>
                <a:cubicBezTo>
                  <a:pt x="3436916" y="1050639"/>
                  <a:pt x="3436916" y="1050815"/>
                  <a:pt x="3436916" y="1053056"/>
                </a:cubicBezTo>
                <a:lnTo>
                  <a:pt x="3436916" y="1070081"/>
                </a:lnTo>
                <a:cubicBezTo>
                  <a:pt x="3436940" y="1070081"/>
                  <a:pt x="3438003" y="1070081"/>
                  <a:pt x="3482517" y="1070081"/>
                </a:cubicBezTo>
                <a:cubicBezTo>
                  <a:pt x="3482517" y="1070055"/>
                  <a:pt x="3482517" y="1068899"/>
                  <a:pt x="3482517" y="1014956"/>
                </a:cubicBezTo>
                <a:cubicBezTo>
                  <a:pt x="3482529" y="1014956"/>
                  <a:pt x="3482669" y="1014956"/>
                  <a:pt x="3484416" y="1014956"/>
                </a:cubicBezTo>
                <a:lnTo>
                  <a:pt x="3497717" y="1014956"/>
                </a:lnTo>
                <a:cubicBezTo>
                  <a:pt x="3497717" y="1014972"/>
                  <a:pt x="3497717" y="1015713"/>
                  <a:pt x="3497717" y="1047381"/>
                </a:cubicBezTo>
                <a:cubicBezTo>
                  <a:pt x="3500757" y="1047381"/>
                  <a:pt x="3500757" y="1047381"/>
                  <a:pt x="3500757" y="998742"/>
                </a:cubicBezTo>
                <a:cubicBezTo>
                  <a:pt x="3500778" y="998742"/>
                  <a:pt x="3501590" y="998742"/>
                  <a:pt x="3534197" y="998742"/>
                </a:cubicBezTo>
                <a:cubicBezTo>
                  <a:pt x="3534197" y="998727"/>
                  <a:pt x="3534197" y="998547"/>
                  <a:pt x="3534197" y="996309"/>
                </a:cubicBezTo>
                <a:lnTo>
                  <a:pt x="3534197" y="979286"/>
                </a:lnTo>
                <a:cubicBezTo>
                  <a:pt x="3534209" y="979286"/>
                  <a:pt x="3534321" y="979286"/>
                  <a:pt x="3535337" y="979286"/>
                </a:cubicBezTo>
                <a:lnTo>
                  <a:pt x="3543317" y="979286"/>
                </a:lnTo>
                <a:cubicBezTo>
                  <a:pt x="3543317" y="979277"/>
                  <a:pt x="3543317" y="979107"/>
                  <a:pt x="3543317" y="976449"/>
                </a:cubicBezTo>
                <a:lnTo>
                  <a:pt x="3543317" y="956588"/>
                </a:lnTo>
                <a:lnTo>
                  <a:pt x="3549398" y="966315"/>
                </a:lnTo>
                <a:cubicBezTo>
                  <a:pt x="3549410" y="966315"/>
                  <a:pt x="3549603" y="966315"/>
                  <a:pt x="3552818" y="966315"/>
                </a:cubicBezTo>
                <a:lnTo>
                  <a:pt x="3576758" y="966315"/>
                </a:lnTo>
                <a:cubicBezTo>
                  <a:pt x="3576758" y="966303"/>
                  <a:pt x="3576758" y="966201"/>
                  <a:pt x="3576758" y="965099"/>
                </a:cubicBezTo>
                <a:lnTo>
                  <a:pt x="3576758" y="956588"/>
                </a:lnTo>
                <a:cubicBezTo>
                  <a:pt x="3576771" y="956588"/>
                  <a:pt x="3576882" y="956588"/>
                  <a:pt x="3577898" y="956588"/>
                </a:cubicBezTo>
                <a:lnTo>
                  <a:pt x="3585878" y="956588"/>
                </a:lnTo>
                <a:cubicBezTo>
                  <a:pt x="3585878" y="956601"/>
                  <a:pt x="3585878" y="956751"/>
                  <a:pt x="3585878" y="958614"/>
                </a:cubicBezTo>
                <a:lnTo>
                  <a:pt x="3585878" y="972801"/>
                </a:lnTo>
                <a:cubicBezTo>
                  <a:pt x="3585900" y="972801"/>
                  <a:pt x="3587000" y="972801"/>
                  <a:pt x="3643638" y="972801"/>
                </a:cubicBezTo>
                <a:cubicBezTo>
                  <a:pt x="3643638" y="972828"/>
                  <a:pt x="3643638" y="975093"/>
                  <a:pt x="3643638" y="1180331"/>
                </a:cubicBezTo>
                <a:cubicBezTo>
                  <a:pt x="3643653" y="1180331"/>
                  <a:pt x="3643826" y="1180331"/>
                  <a:pt x="3645918" y="1180331"/>
                </a:cubicBezTo>
                <a:lnTo>
                  <a:pt x="3661878" y="1180331"/>
                </a:lnTo>
                <a:cubicBezTo>
                  <a:pt x="3661878" y="1173846"/>
                  <a:pt x="3661878" y="1167360"/>
                  <a:pt x="3661878" y="1160876"/>
                </a:cubicBezTo>
                <a:cubicBezTo>
                  <a:pt x="3664919" y="1160876"/>
                  <a:pt x="3664919" y="1160876"/>
                  <a:pt x="3667959" y="1160876"/>
                </a:cubicBezTo>
                <a:cubicBezTo>
                  <a:pt x="3667959" y="1167360"/>
                  <a:pt x="3667959" y="1173846"/>
                  <a:pt x="3667959" y="1180331"/>
                </a:cubicBezTo>
                <a:cubicBezTo>
                  <a:pt x="3683159" y="1180331"/>
                  <a:pt x="3698360" y="1180331"/>
                  <a:pt x="3713559" y="1180331"/>
                </a:cubicBezTo>
                <a:cubicBezTo>
                  <a:pt x="3713559" y="1164117"/>
                  <a:pt x="3713559" y="1151147"/>
                  <a:pt x="3713559" y="1134933"/>
                </a:cubicBezTo>
                <a:cubicBezTo>
                  <a:pt x="3719640" y="1134933"/>
                  <a:pt x="3725720" y="1134933"/>
                  <a:pt x="3731799" y="1134933"/>
                </a:cubicBezTo>
                <a:lnTo>
                  <a:pt x="3750039" y="1131692"/>
                </a:lnTo>
                <a:cubicBezTo>
                  <a:pt x="3753080" y="1131692"/>
                  <a:pt x="3753080" y="1134933"/>
                  <a:pt x="3756120" y="1134933"/>
                </a:cubicBezTo>
                <a:lnTo>
                  <a:pt x="3771320" y="1134933"/>
                </a:lnTo>
                <a:cubicBezTo>
                  <a:pt x="3771320" y="1151147"/>
                  <a:pt x="3771320" y="1167360"/>
                  <a:pt x="3771320" y="1180331"/>
                </a:cubicBezTo>
                <a:cubicBezTo>
                  <a:pt x="3774360" y="1180331"/>
                  <a:pt x="3777401" y="1180331"/>
                  <a:pt x="3783480" y="1180331"/>
                </a:cubicBezTo>
                <a:cubicBezTo>
                  <a:pt x="3783480" y="1190060"/>
                  <a:pt x="3783480" y="1199787"/>
                  <a:pt x="3783480" y="1206273"/>
                </a:cubicBezTo>
                <a:lnTo>
                  <a:pt x="3797484" y="1207631"/>
                </a:lnTo>
                <a:lnTo>
                  <a:pt x="3816921" y="1207631"/>
                </a:lnTo>
                <a:cubicBezTo>
                  <a:pt x="3816921" y="1198917"/>
                  <a:pt x="3816921" y="1192659"/>
                  <a:pt x="3816921" y="1183574"/>
                </a:cubicBezTo>
                <a:lnTo>
                  <a:pt x="3918855" y="1183574"/>
                </a:lnTo>
                <a:lnTo>
                  <a:pt x="3918855" y="1055694"/>
                </a:lnTo>
                <a:lnTo>
                  <a:pt x="4026867" y="1055694"/>
                </a:lnTo>
                <a:lnTo>
                  <a:pt x="4026867" y="1173846"/>
                </a:lnTo>
                <a:cubicBezTo>
                  <a:pt x="4027820" y="1173846"/>
                  <a:pt x="4028772" y="1173846"/>
                  <a:pt x="4029723" y="1173846"/>
                </a:cubicBezTo>
                <a:lnTo>
                  <a:pt x="4031586" y="1207631"/>
                </a:lnTo>
                <a:lnTo>
                  <a:pt x="4046100" y="1207631"/>
                </a:lnTo>
                <a:cubicBezTo>
                  <a:pt x="4046904" y="1196810"/>
                  <a:pt x="4047963" y="1185329"/>
                  <a:pt x="4047963" y="1173846"/>
                </a:cubicBezTo>
                <a:cubicBezTo>
                  <a:pt x="4051004" y="1173846"/>
                  <a:pt x="4054044" y="1173846"/>
                  <a:pt x="4057083" y="1173846"/>
                </a:cubicBezTo>
                <a:lnTo>
                  <a:pt x="4058946" y="1207631"/>
                </a:lnTo>
                <a:lnTo>
                  <a:pt x="4134879" y="1207631"/>
                </a:lnTo>
                <a:lnTo>
                  <a:pt x="4134879" y="963089"/>
                </a:lnTo>
                <a:lnTo>
                  <a:pt x="4430870" y="963089"/>
                </a:lnTo>
                <a:lnTo>
                  <a:pt x="4430870" y="1207631"/>
                </a:lnTo>
                <a:lnTo>
                  <a:pt x="4458915" y="1207631"/>
                </a:lnTo>
                <a:lnTo>
                  <a:pt x="4458915" y="1083591"/>
                </a:lnTo>
                <a:lnTo>
                  <a:pt x="4601595" y="1083591"/>
                </a:lnTo>
                <a:cubicBezTo>
                  <a:pt x="4607707" y="924560"/>
                  <a:pt x="4612775" y="766349"/>
                  <a:pt x="4619491" y="606380"/>
                </a:cubicBezTo>
                <a:cubicBezTo>
                  <a:pt x="4604291" y="606380"/>
                  <a:pt x="4567811" y="586923"/>
                  <a:pt x="4601251" y="573953"/>
                </a:cubicBezTo>
                <a:cubicBezTo>
                  <a:pt x="4598209" y="570710"/>
                  <a:pt x="4595171" y="567467"/>
                  <a:pt x="4592131" y="567467"/>
                </a:cubicBezTo>
                <a:cubicBezTo>
                  <a:pt x="4592131" y="548012"/>
                  <a:pt x="4589089" y="544769"/>
                  <a:pt x="4604291" y="531798"/>
                </a:cubicBezTo>
                <a:cubicBezTo>
                  <a:pt x="4604291" y="525312"/>
                  <a:pt x="4604291" y="515585"/>
                  <a:pt x="4604291" y="505857"/>
                </a:cubicBezTo>
                <a:cubicBezTo>
                  <a:pt x="4610371" y="505857"/>
                  <a:pt x="4616451" y="505857"/>
                  <a:pt x="4625571" y="505857"/>
                </a:cubicBezTo>
                <a:cubicBezTo>
                  <a:pt x="4625571" y="492885"/>
                  <a:pt x="4625571" y="483158"/>
                  <a:pt x="4625571" y="473430"/>
                </a:cubicBezTo>
                <a:cubicBezTo>
                  <a:pt x="4625571" y="470187"/>
                  <a:pt x="4628611" y="470187"/>
                  <a:pt x="4628611" y="466944"/>
                </a:cubicBezTo>
                <a:cubicBezTo>
                  <a:pt x="4628611" y="428033"/>
                  <a:pt x="4628611" y="389121"/>
                  <a:pt x="4628611" y="350208"/>
                </a:cubicBezTo>
                <a:cubicBezTo>
                  <a:pt x="4628611" y="346965"/>
                  <a:pt x="4625571" y="343724"/>
                  <a:pt x="4625571" y="340481"/>
                </a:cubicBezTo>
                <a:cubicBezTo>
                  <a:pt x="4628611" y="337238"/>
                  <a:pt x="4631651" y="333995"/>
                  <a:pt x="4634691" y="330752"/>
                </a:cubicBezTo>
                <a:cubicBezTo>
                  <a:pt x="4634691" y="301568"/>
                  <a:pt x="4634691" y="272384"/>
                  <a:pt x="4634691" y="243200"/>
                </a:cubicBezTo>
                <a:cubicBezTo>
                  <a:pt x="4634691" y="239958"/>
                  <a:pt x="4634691" y="239958"/>
                  <a:pt x="4637731" y="236715"/>
                </a:cubicBezTo>
                <a:cubicBezTo>
                  <a:pt x="4637731" y="210774"/>
                  <a:pt x="4637731" y="181590"/>
                  <a:pt x="4637731" y="152406"/>
                </a:cubicBezTo>
                <a:cubicBezTo>
                  <a:pt x="4640771" y="139436"/>
                  <a:pt x="4640771" y="132950"/>
                  <a:pt x="4640771" y="123222"/>
                </a:cubicBezTo>
                <a:cubicBezTo>
                  <a:pt x="4646851" y="132950"/>
                  <a:pt x="4646851" y="139436"/>
                  <a:pt x="4646851" y="149163"/>
                </a:cubicBezTo>
                <a:cubicBezTo>
                  <a:pt x="4649891" y="181590"/>
                  <a:pt x="4649891" y="210774"/>
                  <a:pt x="4649891" y="236715"/>
                </a:cubicBezTo>
                <a:cubicBezTo>
                  <a:pt x="4652931" y="272384"/>
                  <a:pt x="4652931" y="301568"/>
                  <a:pt x="4652931" y="330752"/>
                </a:cubicBezTo>
                <a:cubicBezTo>
                  <a:pt x="4655971" y="333995"/>
                  <a:pt x="4659011" y="337238"/>
                  <a:pt x="4662051" y="340481"/>
                </a:cubicBezTo>
                <a:cubicBezTo>
                  <a:pt x="4662051" y="343724"/>
                  <a:pt x="4659011" y="346965"/>
                  <a:pt x="4659011" y="350208"/>
                </a:cubicBezTo>
                <a:cubicBezTo>
                  <a:pt x="4659011" y="389121"/>
                  <a:pt x="4659011" y="428033"/>
                  <a:pt x="4659011" y="466944"/>
                </a:cubicBezTo>
                <a:cubicBezTo>
                  <a:pt x="4659011" y="470187"/>
                  <a:pt x="4662051" y="470187"/>
                  <a:pt x="4662051" y="473430"/>
                </a:cubicBezTo>
                <a:cubicBezTo>
                  <a:pt x="4662051" y="483158"/>
                  <a:pt x="4662051" y="492885"/>
                  <a:pt x="4662051" y="505857"/>
                </a:cubicBezTo>
                <a:cubicBezTo>
                  <a:pt x="4668131" y="505857"/>
                  <a:pt x="4677251" y="505857"/>
                  <a:pt x="4683331" y="505857"/>
                </a:cubicBezTo>
                <a:cubicBezTo>
                  <a:pt x="4683331" y="515585"/>
                  <a:pt x="4683331" y="525312"/>
                  <a:pt x="4683331" y="531798"/>
                </a:cubicBezTo>
                <a:cubicBezTo>
                  <a:pt x="4695493" y="544769"/>
                  <a:pt x="4695493" y="544769"/>
                  <a:pt x="4695493" y="567467"/>
                </a:cubicBezTo>
                <a:cubicBezTo>
                  <a:pt x="4692451" y="567467"/>
                  <a:pt x="4689411" y="570710"/>
                  <a:pt x="4686373" y="573953"/>
                </a:cubicBezTo>
                <a:cubicBezTo>
                  <a:pt x="4716771" y="590166"/>
                  <a:pt x="4680291" y="603137"/>
                  <a:pt x="4668131" y="606380"/>
                </a:cubicBezTo>
                <a:cubicBezTo>
                  <a:pt x="4671171" y="732843"/>
                  <a:pt x="4677251" y="859307"/>
                  <a:pt x="4680291" y="985772"/>
                </a:cubicBezTo>
                <a:cubicBezTo>
                  <a:pt x="4713733" y="985772"/>
                  <a:pt x="4747171" y="985772"/>
                  <a:pt x="4777573" y="985772"/>
                </a:cubicBezTo>
                <a:cubicBezTo>
                  <a:pt x="4777573" y="1024683"/>
                  <a:pt x="4777573" y="1063595"/>
                  <a:pt x="4777573" y="1099265"/>
                </a:cubicBezTo>
                <a:cubicBezTo>
                  <a:pt x="4783653" y="1099265"/>
                  <a:pt x="4786693" y="1099265"/>
                  <a:pt x="4789733" y="1099265"/>
                </a:cubicBezTo>
                <a:cubicBezTo>
                  <a:pt x="4789733" y="1096022"/>
                  <a:pt x="4792773" y="1092779"/>
                  <a:pt x="4792773" y="1089537"/>
                </a:cubicBezTo>
                <a:cubicBezTo>
                  <a:pt x="4795813" y="1089537"/>
                  <a:pt x="4798853" y="1089537"/>
                  <a:pt x="4801893" y="1089537"/>
                </a:cubicBezTo>
                <a:cubicBezTo>
                  <a:pt x="4801893" y="1092779"/>
                  <a:pt x="4801893" y="1096022"/>
                  <a:pt x="4804935" y="1102508"/>
                </a:cubicBezTo>
                <a:cubicBezTo>
                  <a:pt x="4811013" y="1102508"/>
                  <a:pt x="4817093" y="1102508"/>
                  <a:pt x="4823175" y="1102508"/>
                </a:cubicBezTo>
                <a:cubicBezTo>
                  <a:pt x="4823175" y="1099265"/>
                  <a:pt x="4823175" y="1096022"/>
                  <a:pt x="4823175" y="1092779"/>
                </a:cubicBezTo>
                <a:cubicBezTo>
                  <a:pt x="4835333" y="1092779"/>
                  <a:pt x="4844453" y="1092779"/>
                  <a:pt x="4856613" y="1092779"/>
                </a:cubicBezTo>
                <a:cubicBezTo>
                  <a:pt x="4856613" y="1096022"/>
                  <a:pt x="4856613" y="1099265"/>
                  <a:pt x="4856613" y="1102508"/>
                </a:cubicBezTo>
                <a:cubicBezTo>
                  <a:pt x="4865733" y="1102508"/>
                  <a:pt x="4877895" y="1102508"/>
                  <a:pt x="4887015" y="1102508"/>
                </a:cubicBezTo>
                <a:cubicBezTo>
                  <a:pt x="4887015" y="1125206"/>
                  <a:pt x="4887015" y="1147905"/>
                  <a:pt x="4887015" y="1170603"/>
                </a:cubicBezTo>
                <a:cubicBezTo>
                  <a:pt x="4893095" y="1170603"/>
                  <a:pt x="4902215" y="1170603"/>
                  <a:pt x="4908295" y="1170603"/>
                </a:cubicBezTo>
                <a:cubicBezTo>
                  <a:pt x="4908295" y="1164117"/>
                  <a:pt x="4908295" y="1157633"/>
                  <a:pt x="4908295" y="1151147"/>
                </a:cubicBezTo>
                <a:cubicBezTo>
                  <a:pt x="4917415" y="1151147"/>
                  <a:pt x="4926535" y="1151147"/>
                  <a:pt x="4932615" y="1151147"/>
                </a:cubicBezTo>
                <a:cubicBezTo>
                  <a:pt x="4932615" y="1060353"/>
                  <a:pt x="4932615" y="972801"/>
                  <a:pt x="4932615" y="882006"/>
                </a:cubicBezTo>
                <a:cubicBezTo>
                  <a:pt x="4935655" y="878763"/>
                  <a:pt x="4938695" y="875520"/>
                  <a:pt x="4941735" y="872277"/>
                </a:cubicBezTo>
                <a:cubicBezTo>
                  <a:pt x="4978215" y="872277"/>
                  <a:pt x="5014695" y="872277"/>
                  <a:pt x="5051177" y="872277"/>
                </a:cubicBezTo>
                <a:lnTo>
                  <a:pt x="5051177" y="885249"/>
                </a:lnTo>
                <a:lnTo>
                  <a:pt x="5066377" y="885249"/>
                </a:lnTo>
                <a:cubicBezTo>
                  <a:pt x="5066377" y="943617"/>
                  <a:pt x="5066377" y="1001985"/>
                  <a:pt x="5066377" y="1057110"/>
                </a:cubicBezTo>
                <a:cubicBezTo>
                  <a:pt x="5078537" y="1057110"/>
                  <a:pt x="5087657" y="1057110"/>
                  <a:pt x="5099817" y="1057110"/>
                </a:cubicBezTo>
                <a:cubicBezTo>
                  <a:pt x="5099817" y="1024683"/>
                  <a:pt x="5099817" y="992256"/>
                  <a:pt x="5099817" y="956588"/>
                </a:cubicBezTo>
                <a:cubicBezTo>
                  <a:pt x="5111977" y="956588"/>
                  <a:pt x="5127177" y="956588"/>
                  <a:pt x="5139339" y="956588"/>
                </a:cubicBezTo>
                <a:cubicBezTo>
                  <a:pt x="5142377" y="956588"/>
                  <a:pt x="5142377" y="953345"/>
                  <a:pt x="5145417" y="950102"/>
                </a:cubicBezTo>
                <a:lnTo>
                  <a:pt x="5157579" y="950102"/>
                </a:lnTo>
                <a:cubicBezTo>
                  <a:pt x="5160617" y="953345"/>
                  <a:pt x="5160617" y="956588"/>
                  <a:pt x="5163657" y="956588"/>
                </a:cubicBezTo>
                <a:cubicBezTo>
                  <a:pt x="5172777" y="956588"/>
                  <a:pt x="5184939" y="956588"/>
                  <a:pt x="5197099" y="956588"/>
                </a:cubicBezTo>
                <a:cubicBezTo>
                  <a:pt x="5197099" y="898220"/>
                  <a:pt x="5197099" y="839852"/>
                  <a:pt x="5197099" y="781484"/>
                </a:cubicBezTo>
                <a:cubicBezTo>
                  <a:pt x="5197119" y="781479"/>
                  <a:pt x="5198419" y="781233"/>
                  <a:pt x="5282219" y="765270"/>
                </a:cubicBezTo>
                <a:cubicBezTo>
                  <a:pt x="5282219" y="765281"/>
                  <a:pt x="5282219" y="765392"/>
                  <a:pt x="5282219" y="766892"/>
                </a:cubicBezTo>
                <a:lnTo>
                  <a:pt x="5282219" y="778241"/>
                </a:lnTo>
                <a:cubicBezTo>
                  <a:pt x="5282245" y="778241"/>
                  <a:pt x="5283211" y="778241"/>
                  <a:pt x="5321739" y="778241"/>
                </a:cubicBezTo>
                <a:cubicBezTo>
                  <a:pt x="5321739" y="778274"/>
                  <a:pt x="5321739" y="781830"/>
                  <a:pt x="5321739" y="1160876"/>
                </a:cubicBezTo>
                <a:cubicBezTo>
                  <a:pt x="5330859" y="1160876"/>
                  <a:pt x="5343019" y="1160876"/>
                  <a:pt x="5355181" y="1160876"/>
                </a:cubicBezTo>
                <a:cubicBezTo>
                  <a:pt x="5355181" y="1157633"/>
                  <a:pt x="5355181" y="1157633"/>
                  <a:pt x="5355181" y="1154390"/>
                </a:cubicBezTo>
                <a:cubicBezTo>
                  <a:pt x="5361259" y="1154390"/>
                  <a:pt x="5367339" y="1154390"/>
                  <a:pt x="5373421" y="1154390"/>
                </a:cubicBezTo>
                <a:cubicBezTo>
                  <a:pt x="5373421" y="1157633"/>
                  <a:pt x="5373421" y="1157633"/>
                  <a:pt x="5373421" y="1160876"/>
                </a:cubicBezTo>
                <a:cubicBezTo>
                  <a:pt x="5385581" y="1160876"/>
                  <a:pt x="5397739" y="1160876"/>
                  <a:pt x="5409901" y="1160876"/>
                </a:cubicBezTo>
                <a:cubicBezTo>
                  <a:pt x="5409901" y="1154390"/>
                  <a:pt x="5409901" y="1147905"/>
                  <a:pt x="5409901" y="1141419"/>
                </a:cubicBezTo>
                <a:cubicBezTo>
                  <a:pt x="5425101" y="1141419"/>
                  <a:pt x="5440301" y="1141419"/>
                  <a:pt x="5452461" y="1141419"/>
                </a:cubicBezTo>
                <a:cubicBezTo>
                  <a:pt x="5458541" y="1134933"/>
                  <a:pt x="5464623" y="1134933"/>
                  <a:pt x="5470701" y="1134933"/>
                </a:cubicBezTo>
                <a:cubicBezTo>
                  <a:pt x="5479821" y="1141419"/>
                  <a:pt x="5491983" y="1141419"/>
                  <a:pt x="5501103" y="1141419"/>
                </a:cubicBezTo>
                <a:cubicBezTo>
                  <a:pt x="5501103" y="1131692"/>
                  <a:pt x="5501103" y="1125206"/>
                  <a:pt x="5501103" y="1115478"/>
                </a:cubicBezTo>
                <a:lnTo>
                  <a:pt x="5513263" y="1115478"/>
                </a:lnTo>
                <a:cubicBezTo>
                  <a:pt x="5513263" y="1108992"/>
                  <a:pt x="5513263" y="1102508"/>
                  <a:pt x="5513263" y="1096022"/>
                </a:cubicBezTo>
                <a:cubicBezTo>
                  <a:pt x="5540623" y="1096022"/>
                  <a:pt x="5571023" y="1096022"/>
                  <a:pt x="5598383" y="1096022"/>
                </a:cubicBezTo>
                <a:cubicBezTo>
                  <a:pt x="5598383" y="1079808"/>
                  <a:pt x="5598383" y="1066838"/>
                  <a:pt x="5598383" y="1050624"/>
                </a:cubicBezTo>
                <a:cubicBezTo>
                  <a:pt x="5607503" y="1050624"/>
                  <a:pt x="5616623" y="1050624"/>
                  <a:pt x="5625743" y="1050624"/>
                </a:cubicBezTo>
                <a:cubicBezTo>
                  <a:pt x="5625743" y="1047381"/>
                  <a:pt x="5625743" y="1044140"/>
                  <a:pt x="5625743" y="1040897"/>
                </a:cubicBezTo>
                <a:cubicBezTo>
                  <a:pt x="5631823" y="1040897"/>
                  <a:pt x="5637903" y="1040897"/>
                  <a:pt x="5643983" y="1040897"/>
                </a:cubicBezTo>
                <a:cubicBezTo>
                  <a:pt x="5643983" y="1044140"/>
                  <a:pt x="5643983" y="1047381"/>
                  <a:pt x="5643983" y="1050624"/>
                </a:cubicBezTo>
                <a:cubicBezTo>
                  <a:pt x="5653103" y="1050624"/>
                  <a:pt x="5659183" y="1050624"/>
                  <a:pt x="5668303" y="1050624"/>
                </a:cubicBezTo>
                <a:cubicBezTo>
                  <a:pt x="5668303" y="1073324"/>
                  <a:pt x="5668303" y="1099265"/>
                  <a:pt x="5668303" y="1125206"/>
                </a:cubicBezTo>
                <a:cubicBezTo>
                  <a:pt x="5683503" y="1125206"/>
                  <a:pt x="5701745" y="1125206"/>
                  <a:pt x="5716945" y="1125206"/>
                </a:cubicBezTo>
                <a:cubicBezTo>
                  <a:pt x="5716945" y="1112235"/>
                  <a:pt x="5716945" y="1099265"/>
                  <a:pt x="5716945" y="1086294"/>
                </a:cubicBezTo>
                <a:cubicBezTo>
                  <a:pt x="5735185" y="1086294"/>
                  <a:pt x="5756465" y="1086294"/>
                  <a:pt x="5774705" y="1086294"/>
                </a:cubicBezTo>
                <a:cubicBezTo>
                  <a:pt x="5774705" y="1070081"/>
                  <a:pt x="5774705" y="1057110"/>
                  <a:pt x="5774705" y="1040897"/>
                </a:cubicBezTo>
                <a:cubicBezTo>
                  <a:pt x="5799027" y="1040897"/>
                  <a:pt x="5823345" y="1040897"/>
                  <a:pt x="5847667" y="1040897"/>
                </a:cubicBezTo>
                <a:cubicBezTo>
                  <a:pt x="5847667" y="1040940"/>
                  <a:pt x="5847667" y="1043603"/>
                  <a:pt x="5847667" y="1207631"/>
                </a:cubicBezTo>
                <a:lnTo>
                  <a:pt x="5847667" y="1228299"/>
                </a:lnTo>
                <a:lnTo>
                  <a:pt x="5946479" y="1228299"/>
                </a:lnTo>
                <a:lnTo>
                  <a:pt x="5946479" y="1386957"/>
                </a:lnTo>
                <a:lnTo>
                  <a:pt x="5946479" y="1421828"/>
                </a:lnTo>
                <a:lnTo>
                  <a:pt x="5968919" y="1421828"/>
                </a:lnTo>
                <a:cubicBezTo>
                  <a:pt x="5968919" y="1421828"/>
                  <a:pt x="5968919" y="1421828"/>
                  <a:pt x="5968919" y="1420085"/>
                </a:cubicBezTo>
                <a:lnTo>
                  <a:pt x="5968919" y="1407881"/>
                </a:lnTo>
                <a:cubicBezTo>
                  <a:pt x="5968919" y="1407881"/>
                  <a:pt x="5968919" y="1407881"/>
                  <a:pt x="6035789" y="1407881"/>
                </a:cubicBezTo>
                <a:cubicBezTo>
                  <a:pt x="6035789" y="1407881"/>
                  <a:pt x="6035789" y="1407881"/>
                  <a:pt x="6035789" y="1439262"/>
                </a:cubicBezTo>
                <a:cubicBezTo>
                  <a:pt x="6035789" y="1439262"/>
                  <a:pt x="6035789" y="1439262"/>
                  <a:pt x="6039131" y="1441007"/>
                </a:cubicBezTo>
                <a:lnTo>
                  <a:pt x="6062537" y="1453211"/>
                </a:lnTo>
                <a:cubicBezTo>
                  <a:pt x="6062537" y="1453211"/>
                  <a:pt x="6062537" y="1453211"/>
                  <a:pt x="6062537" y="1498541"/>
                </a:cubicBezTo>
                <a:cubicBezTo>
                  <a:pt x="6062537" y="1498541"/>
                  <a:pt x="6062537" y="1498541"/>
                  <a:pt x="6064627" y="1499414"/>
                </a:cubicBezTo>
                <a:lnTo>
                  <a:pt x="6079255" y="1505516"/>
                </a:lnTo>
                <a:cubicBezTo>
                  <a:pt x="6079255" y="1505516"/>
                  <a:pt x="6079255" y="1505516"/>
                  <a:pt x="6079255" y="1503773"/>
                </a:cubicBezTo>
                <a:lnTo>
                  <a:pt x="6079255" y="1491567"/>
                </a:lnTo>
                <a:cubicBezTo>
                  <a:pt x="6079255" y="1491567"/>
                  <a:pt x="6079255" y="1491567"/>
                  <a:pt x="6080927" y="1491567"/>
                </a:cubicBezTo>
                <a:lnTo>
                  <a:pt x="6092629" y="1491567"/>
                </a:lnTo>
                <a:cubicBezTo>
                  <a:pt x="6092629" y="1491567"/>
                  <a:pt x="6092629" y="1491567"/>
                  <a:pt x="6092629" y="1490259"/>
                </a:cubicBezTo>
                <a:lnTo>
                  <a:pt x="6092629" y="1481106"/>
                </a:lnTo>
                <a:cubicBezTo>
                  <a:pt x="6092629" y="1481106"/>
                  <a:pt x="6092629" y="1481106"/>
                  <a:pt x="6090957" y="1481106"/>
                </a:cubicBezTo>
                <a:lnTo>
                  <a:pt x="6079255" y="1481106"/>
                </a:lnTo>
                <a:cubicBezTo>
                  <a:pt x="6079255" y="1481106"/>
                  <a:pt x="6079255" y="1481106"/>
                  <a:pt x="6079255" y="1479363"/>
                </a:cubicBezTo>
                <a:lnTo>
                  <a:pt x="6079255" y="1467159"/>
                </a:lnTo>
                <a:cubicBezTo>
                  <a:pt x="6079255" y="1467159"/>
                  <a:pt x="6079255" y="1467159"/>
                  <a:pt x="6080927" y="1467159"/>
                </a:cubicBezTo>
                <a:lnTo>
                  <a:pt x="6092629" y="1467159"/>
                </a:lnTo>
                <a:cubicBezTo>
                  <a:pt x="6092629" y="1467159"/>
                  <a:pt x="6092629" y="1467159"/>
                  <a:pt x="6092629" y="1465415"/>
                </a:cubicBezTo>
                <a:lnTo>
                  <a:pt x="6092629" y="1453211"/>
                </a:lnTo>
                <a:cubicBezTo>
                  <a:pt x="6092629" y="1453211"/>
                  <a:pt x="6092629" y="1453211"/>
                  <a:pt x="6090957" y="1453211"/>
                </a:cubicBezTo>
                <a:lnTo>
                  <a:pt x="6079255" y="1453211"/>
                </a:lnTo>
                <a:cubicBezTo>
                  <a:pt x="6079255" y="1453211"/>
                  <a:pt x="6079255" y="1453211"/>
                  <a:pt x="6079255" y="1451468"/>
                </a:cubicBezTo>
                <a:lnTo>
                  <a:pt x="6079255" y="1439262"/>
                </a:lnTo>
                <a:cubicBezTo>
                  <a:pt x="6079255" y="1439262"/>
                  <a:pt x="6079255" y="1439262"/>
                  <a:pt x="6080927" y="1439262"/>
                </a:cubicBezTo>
                <a:lnTo>
                  <a:pt x="6092629" y="1439262"/>
                </a:lnTo>
                <a:cubicBezTo>
                  <a:pt x="6092629" y="1439262"/>
                  <a:pt x="6092629" y="1439262"/>
                  <a:pt x="6092629" y="1437956"/>
                </a:cubicBezTo>
                <a:lnTo>
                  <a:pt x="6092629" y="1428803"/>
                </a:lnTo>
                <a:cubicBezTo>
                  <a:pt x="6092629" y="1428803"/>
                  <a:pt x="6092629" y="1428803"/>
                  <a:pt x="6090957" y="1428803"/>
                </a:cubicBezTo>
                <a:lnTo>
                  <a:pt x="6079255" y="1428803"/>
                </a:lnTo>
                <a:cubicBezTo>
                  <a:pt x="6079255" y="1428803"/>
                  <a:pt x="6079255" y="1428803"/>
                  <a:pt x="6079255" y="1427058"/>
                </a:cubicBezTo>
                <a:lnTo>
                  <a:pt x="6079255" y="1414854"/>
                </a:lnTo>
                <a:cubicBezTo>
                  <a:pt x="6079255" y="1414854"/>
                  <a:pt x="6079255" y="1414854"/>
                  <a:pt x="6080927" y="1414854"/>
                </a:cubicBezTo>
                <a:lnTo>
                  <a:pt x="6092629" y="1414854"/>
                </a:lnTo>
                <a:cubicBezTo>
                  <a:pt x="6092629" y="1414854"/>
                  <a:pt x="6092629" y="1414854"/>
                  <a:pt x="6092629" y="1413111"/>
                </a:cubicBezTo>
                <a:lnTo>
                  <a:pt x="6092629" y="1400906"/>
                </a:lnTo>
                <a:cubicBezTo>
                  <a:pt x="6092629" y="1400906"/>
                  <a:pt x="6092629" y="1400906"/>
                  <a:pt x="6090957" y="1400906"/>
                </a:cubicBezTo>
                <a:lnTo>
                  <a:pt x="6079255" y="1400906"/>
                </a:lnTo>
                <a:cubicBezTo>
                  <a:pt x="6079255" y="1400906"/>
                  <a:pt x="6079255" y="1400906"/>
                  <a:pt x="6079255" y="1399599"/>
                </a:cubicBezTo>
                <a:lnTo>
                  <a:pt x="6079255" y="1390445"/>
                </a:lnTo>
                <a:cubicBezTo>
                  <a:pt x="6079255" y="1390445"/>
                  <a:pt x="6079255" y="1390445"/>
                  <a:pt x="6080927" y="1390445"/>
                </a:cubicBezTo>
                <a:lnTo>
                  <a:pt x="6092629" y="1390445"/>
                </a:lnTo>
                <a:cubicBezTo>
                  <a:pt x="6092629" y="1390445"/>
                  <a:pt x="6092629" y="1390445"/>
                  <a:pt x="6092629" y="1388702"/>
                </a:cubicBezTo>
                <a:lnTo>
                  <a:pt x="6092629" y="1376498"/>
                </a:lnTo>
                <a:cubicBezTo>
                  <a:pt x="6092629" y="1376498"/>
                  <a:pt x="6092629" y="1376498"/>
                  <a:pt x="6090957" y="1376498"/>
                </a:cubicBezTo>
                <a:lnTo>
                  <a:pt x="6079255" y="1376498"/>
                </a:lnTo>
                <a:cubicBezTo>
                  <a:pt x="6079255" y="1376498"/>
                  <a:pt x="6079255" y="1376498"/>
                  <a:pt x="6079255" y="1374755"/>
                </a:cubicBezTo>
                <a:lnTo>
                  <a:pt x="6079255" y="1362549"/>
                </a:lnTo>
                <a:cubicBezTo>
                  <a:pt x="6079255" y="1362549"/>
                  <a:pt x="6079255" y="1362549"/>
                  <a:pt x="6080927" y="1362549"/>
                </a:cubicBezTo>
                <a:lnTo>
                  <a:pt x="6092629" y="1362549"/>
                </a:lnTo>
                <a:cubicBezTo>
                  <a:pt x="6092629" y="1362549"/>
                  <a:pt x="6092629" y="1362549"/>
                  <a:pt x="6092629" y="1360806"/>
                </a:cubicBezTo>
                <a:lnTo>
                  <a:pt x="6092629" y="1348602"/>
                </a:lnTo>
                <a:cubicBezTo>
                  <a:pt x="6092629" y="1348602"/>
                  <a:pt x="6092629" y="1348602"/>
                  <a:pt x="6090957" y="1348602"/>
                </a:cubicBezTo>
                <a:lnTo>
                  <a:pt x="6079255" y="1348602"/>
                </a:lnTo>
                <a:cubicBezTo>
                  <a:pt x="6079255" y="1348602"/>
                  <a:pt x="6079255" y="1348602"/>
                  <a:pt x="6079255" y="1347294"/>
                </a:cubicBezTo>
                <a:lnTo>
                  <a:pt x="6079255" y="1338141"/>
                </a:lnTo>
                <a:cubicBezTo>
                  <a:pt x="6079255" y="1338141"/>
                  <a:pt x="6079255" y="1338141"/>
                  <a:pt x="6080927" y="1338141"/>
                </a:cubicBezTo>
                <a:lnTo>
                  <a:pt x="6092629" y="1338141"/>
                </a:lnTo>
                <a:cubicBezTo>
                  <a:pt x="6092629" y="1338141"/>
                  <a:pt x="6092629" y="1338141"/>
                  <a:pt x="6092629" y="1336397"/>
                </a:cubicBezTo>
                <a:lnTo>
                  <a:pt x="6092629" y="1324193"/>
                </a:lnTo>
                <a:cubicBezTo>
                  <a:pt x="6092629" y="1324193"/>
                  <a:pt x="6092629" y="1324193"/>
                  <a:pt x="6090957" y="1324193"/>
                </a:cubicBezTo>
                <a:lnTo>
                  <a:pt x="6079255" y="1324193"/>
                </a:lnTo>
                <a:cubicBezTo>
                  <a:pt x="6079255" y="1324193"/>
                  <a:pt x="6079255" y="1324193"/>
                  <a:pt x="6079255" y="1322450"/>
                </a:cubicBezTo>
                <a:lnTo>
                  <a:pt x="6079255" y="1310244"/>
                </a:lnTo>
                <a:cubicBezTo>
                  <a:pt x="6079255" y="1310244"/>
                  <a:pt x="6079255" y="1310244"/>
                  <a:pt x="6080927" y="1310244"/>
                </a:cubicBezTo>
                <a:lnTo>
                  <a:pt x="6092629" y="1310244"/>
                </a:lnTo>
                <a:cubicBezTo>
                  <a:pt x="6092629" y="1310244"/>
                  <a:pt x="6092629" y="1310244"/>
                  <a:pt x="6092629" y="1308938"/>
                </a:cubicBezTo>
                <a:lnTo>
                  <a:pt x="6092629" y="1299785"/>
                </a:lnTo>
                <a:cubicBezTo>
                  <a:pt x="6092629" y="1299785"/>
                  <a:pt x="6092629" y="1299785"/>
                  <a:pt x="6090957" y="1299785"/>
                </a:cubicBezTo>
                <a:lnTo>
                  <a:pt x="6079255" y="1299785"/>
                </a:lnTo>
                <a:cubicBezTo>
                  <a:pt x="6079255" y="1299785"/>
                  <a:pt x="6079255" y="1299785"/>
                  <a:pt x="6079255" y="1298040"/>
                </a:cubicBezTo>
                <a:lnTo>
                  <a:pt x="6079255" y="1285836"/>
                </a:lnTo>
                <a:cubicBezTo>
                  <a:pt x="6079255" y="1285836"/>
                  <a:pt x="6079255" y="1285836"/>
                  <a:pt x="6080927" y="1285836"/>
                </a:cubicBezTo>
                <a:lnTo>
                  <a:pt x="6092629" y="1285836"/>
                </a:lnTo>
                <a:cubicBezTo>
                  <a:pt x="6092629" y="1285836"/>
                  <a:pt x="6092629" y="1285836"/>
                  <a:pt x="6092629" y="1284093"/>
                </a:cubicBezTo>
                <a:lnTo>
                  <a:pt x="6092629" y="1271888"/>
                </a:lnTo>
                <a:cubicBezTo>
                  <a:pt x="6092629" y="1271888"/>
                  <a:pt x="6092629" y="1271888"/>
                  <a:pt x="6090957" y="1271888"/>
                </a:cubicBezTo>
                <a:lnTo>
                  <a:pt x="6079255" y="1271888"/>
                </a:lnTo>
                <a:cubicBezTo>
                  <a:pt x="6079255" y="1271888"/>
                  <a:pt x="6079255" y="1271888"/>
                  <a:pt x="6079255" y="1270145"/>
                </a:cubicBezTo>
                <a:lnTo>
                  <a:pt x="6079255" y="1257941"/>
                </a:lnTo>
                <a:cubicBezTo>
                  <a:pt x="6079255" y="1257941"/>
                  <a:pt x="6079255" y="1257941"/>
                  <a:pt x="6080927" y="1257941"/>
                </a:cubicBezTo>
                <a:lnTo>
                  <a:pt x="6092629" y="1257941"/>
                </a:lnTo>
                <a:cubicBezTo>
                  <a:pt x="6092629" y="1257941"/>
                  <a:pt x="6092629" y="1257941"/>
                  <a:pt x="6092629" y="1256633"/>
                </a:cubicBezTo>
                <a:lnTo>
                  <a:pt x="6092629" y="1247480"/>
                </a:lnTo>
                <a:cubicBezTo>
                  <a:pt x="6092629" y="1247480"/>
                  <a:pt x="6092629" y="1247480"/>
                  <a:pt x="6090957" y="1247480"/>
                </a:cubicBezTo>
                <a:lnTo>
                  <a:pt x="6079255" y="1247480"/>
                </a:lnTo>
                <a:cubicBezTo>
                  <a:pt x="6079255" y="1247480"/>
                  <a:pt x="6079255" y="1247480"/>
                  <a:pt x="6079255" y="1245737"/>
                </a:cubicBezTo>
                <a:lnTo>
                  <a:pt x="6079255" y="1233531"/>
                </a:lnTo>
                <a:cubicBezTo>
                  <a:pt x="6079255" y="1233531"/>
                  <a:pt x="6079255" y="1233531"/>
                  <a:pt x="6080927" y="1233531"/>
                </a:cubicBezTo>
                <a:lnTo>
                  <a:pt x="6092629" y="1233531"/>
                </a:lnTo>
                <a:cubicBezTo>
                  <a:pt x="6092629" y="1233531"/>
                  <a:pt x="6092629" y="1233531"/>
                  <a:pt x="6092629" y="1231788"/>
                </a:cubicBezTo>
                <a:lnTo>
                  <a:pt x="6092629" y="1219584"/>
                </a:lnTo>
                <a:cubicBezTo>
                  <a:pt x="6092629" y="1219584"/>
                  <a:pt x="6092629" y="1219584"/>
                  <a:pt x="6090957" y="1219584"/>
                </a:cubicBezTo>
                <a:lnTo>
                  <a:pt x="6079255" y="1219584"/>
                </a:lnTo>
                <a:cubicBezTo>
                  <a:pt x="6079255" y="1219584"/>
                  <a:pt x="6079255" y="1219584"/>
                  <a:pt x="6079255" y="1217840"/>
                </a:cubicBezTo>
                <a:lnTo>
                  <a:pt x="6079255" y="1205636"/>
                </a:lnTo>
                <a:cubicBezTo>
                  <a:pt x="6079255" y="1205636"/>
                  <a:pt x="6079255" y="1205636"/>
                  <a:pt x="6080927" y="1205636"/>
                </a:cubicBezTo>
                <a:lnTo>
                  <a:pt x="6092629" y="1205636"/>
                </a:lnTo>
                <a:cubicBezTo>
                  <a:pt x="6092629" y="1205636"/>
                  <a:pt x="6092629" y="1205636"/>
                  <a:pt x="6092629" y="1204328"/>
                </a:cubicBezTo>
                <a:lnTo>
                  <a:pt x="6092629" y="1195175"/>
                </a:lnTo>
                <a:cubicBezTo>
                  <a:pt x="6092629" y="1195175"/>
                  <a:pt x="6092629" y="1195175"/>
                  <a:pt x="6090957" y="1195175"/>
                </a:cubicBezTo>
                <a:lnTo>
                  <a:pt x="6079255" y="1195175"/>
                </a:lnTo>
                <a:cubicBezTo>
                  <a:pt x="6079255" y="1195175"/>
                  <a:pt x="6079255" y="1195175"/>
                  <a:pt x="6079255" y="1193432"/>
                </a:cubicBezTo>
                <a:lnTo>
                  <a:pt x="6079255" y="1181226"/>
                </a:lnTo>
                <a:cubicBezTo>
                  <a:pt x="6079255" y="1181226"/>
                  <a:pt x="6079255" y="1181226"/>
                  <a:pt x="6080927" y="1181226"/>
                </a:cubicBezTo>
                <a:lnTo>
                  <a:pt x="6092629" y="1181226"/>
                </a:lnTo>
                <a:cubicBezTo>
                  <a:pt x="6092629" y="1181226"/>
                  <a:pt x="6092629" y="1181226"/>
                  <a:pt x="6090957" y="1178612"/>
                </a:cubicBezTo>
                <a:lnTo>
                  <a:pt x="6079255" y="1160306"/>
                </a:lnTo>
                <a:cubicBezTo>
                  <a:pt x="6079255" y="1160306"/>
                  <a:pt x="6079255" y="1160306"/>
                  <a:pt x="6079255" y="1104513"/>
                </a:cubicBezTo>
                <a:cubicBezTo>
                  <a:pt x="6079255" y="1104513"/>
                  <a:pt x="6079255" y="1104513"/>
                  <a:pt x="6303271" y="1104513"/>
                </a:cubicBezTo>
                <a:cubicBezTo>
                  <a:pt x="6303271" y="1104513"/>
                  <a:pt x="6303271" y="1104513"/>
                  <a:pt x="6323331" y="1135896"/>
                </a:cubicBezTo>
                <a:cubicBezTo>
                  <a:pt x="6323331" y="1135896"/>
                  <a:pt x="6323331" y="1135896"/>
                  <a:pt x="6323331" y="1205636"/>
                </a:cubicBezTo>
                <a:cubicBezTo>
                  <a:pt x="6323331" y="1205636"/>
                  <a:pt x="6323331" y="1205636"/>
                  <a:pt x="6321659" y="1205636"/>
                </a:cubicBezTo>
                <a:lnTo>
                  <a:pt x="6309957" y="1205636"/>
                </a:lnTo>
                <a:cubicBezTo>
                  <a:pt x="6309957" y="1205636"/>
                  <a:pt x="6309957" y="1205636"/>
                  <a:pt x="6309957" y="1207379"/>
                </a:cubicBezTo>
                <a:lnTo>
                  <a:pt x="6309957" y="1219584"/>
                </a:lnTo>
                <a:cubicBezTo>
                  <a:pt x="6309957" y="1219584"/>
                  <a:pt x="6309957" y="1219584"/>
                  <a:pt x="6311629" y="1219584"/>
                </a:cubicBezTo>
                <a:lnTo>
                  <a:pt x="6323331" y="1219584"/>
                </a:lnTo>
                <a:cubicBezTo>
                  <a:pt x="6323331" y="1219584"/>
                  <a:pt x="6323331" y="1219584"/>
                  <a:pt x="6323331" y="1221327"/>
                </a:cubicBezTo>
                <a:lnTo>
                  <a:pt x="6323331" y="1233531"/>
                </a:lnTo>
                <a:cubicBezTo>
                  <a:pt x="6323331" y="1233531"/>
                  <a:pt x="6323331" y="1233531"/>
                  <a:pt x="6321659" y="1233531"/>
                </a:cubicBezTo>
                <a:lnTo>
                  <a:pt x="6309957" y="1233531"/>
                </a:lnTo>
                <a:cubicBezTo>
                  <a:pt x="6309957" y="1233531"/>
                  <a:pt x="6309957" y="1233531"/>
                  <a:pt x="6309957" y="1235274"/>
                </a:cubicBezTo>
                <a:lnTo>
                  <a:pt x="6309957" y="1247480"/>
                </a:lnTo>
                <a:cubicBezTo>
                  <a:pt x="6309957" y="1247480"/>
                  <a:pt x="6309957" y="1247480"/>
                  <a:pt x="6311629" y="1247480"/>
                </a:cubicBezTo>
                <a:lnTo>
                  <a:pt x="6323331" y="1247480"/>
                </a:lnTo>
                <a:cubicBezTo>
                  <a:pt x="6323331" y="1247480"/>
                  <a:pt x="6323331" y="1247480"/>
                  <a:pt x="6323331" y="1248788"/>
                </a:cubicBezTo>
                <a:lnTo>
                  <a:pt x="6323331" y="1257941"/>
                </a:lnTo>
                <a:cubicBezTo>
                  <a:pt x="6323331" y="1257941"/>
                  <a:pt x="6323331" y="1257941"/>
                  <a:pt x="6321659" y="1257941"/>
                </a:cubicBezTo>
                <a:lnTo>
                  <a:pt x="6309957" y="1257941"/>
                </a:lnTo>
                <a:cubicBezTo>
                  <a:pt x="6309957" y="1257941"/>
                  <a:pt x="6309957" y="1257941"/>
                  <a:pt x="6309957" y="1259684"/>
                </a:cubicBezTo>
                <a:lnTo>
                  <a:pt x="6309957" y="1271888"/>
                </a:lnTo>
                <a:cubicBezTo>
                  <a:pt x="6309957" y="1271888"/>
                  <a:pt x="6309957" y="1271888"/>
                  <a:pt x="6311629" y="1271888"/>
                </a:cubicBezTo>
                <a:lnTo>
                  <a:pt x="6323331" y="1271888"/>
                </a:lnTo>
                <a:cubicBezTo>
                  <a:pt x="6323331" y="1271888"/>
                  <a:pt x="6323331" y="1271888"/>
                  <a:pt x="6323331" y="1273632"/>
                </a:cubicBezTo>
                <a:lnTo>
                  <a:pt x="6323331" y="1285836"/>
                </a:lnTo>
                <a:cubicBezTo>
                  <a:pt x="6323331" y="1285836"/>
                  <a:pt x="6323331" y="1285836"/>
                  <a:pt x="6321659" y="1285836"/>
                </a:cubicBezTo>
                <a:lnTo>
                  <a:pt x="6309957" y="1285836"/>
                </a:lnTo>
                <a:cubicBezTo>
                  <a:pt x="6309957" y="1285836"/>
                  <a:pt x="6309957" y="1285836"/>
                  <a:pt x="6309957" y="1287579"/>
                </a:cubicBezTo>
                <a:lnTo>
                  <a:pt x="6309957" y="1299785"/>
                </a:lnTo>
                <a:cubicBezTo>
                  <a:pt x="6309957" y="1299785"/>
                  <a:pt x="6309957" y="1299785"/>
                  <a:pt x="6311629" y="1299785"/>
                </a:cubicBezTo>
                <a:lnTo>
                  <a:pt x="6323331" y="1299785"/>
                </a:lnTo>
                <a:cubicBezTo>
                  <a:pt x="6323331" y="1299785"/>
                  <a:pt x="6323331" y="1299785"/>
                  <a:pt x="6323331" y="1301091"/>
                </a:cubicBezTo>
                <a:lnTo>
                  <a:pt x="6323331" y="1310244"/>
                </a:lnTo>
                <a:cubicBezTo>
                  <a:pt x="6323331" y="1310244"/>
                  <a:pt x="6323331" y="1310244"/>
                  <a:pt x="6321659" y="1310244"/>
                </a:cubicBezTo>
                <a:lnTo>
                  <a:pt x="6309957" y="1310244"/>
                </a:lnTo>
                <a:cubicBezTo>
                  <a:pt x="6309957" y="1310244"/>
                  <a:pt x="6309957" y="1310244"/>
                  <a:pt x="6309957" y="1311989"/>
                </a:cubicBezTo>
                <a:lnTo>
                  <a:pt x="6309957" y="1324193"/>
                </a:lnTo>
                <a:cubicBezTo>
                  <a:pt x="6309957" y="1324193"/>
                  <a:pt x="6309957" y="1324193"/>
                  <a:pt x="6311629" y="1324193"/>
                </a:cubicBezTo>
                <a:lnTo>
                  <a:pt x="6323331" y="1324193"/>
                </a:lnTo>
                <a:cubicBezTo>
                  <a:pt x="6323331" y="1324193"/>
                  <a:pt x="6323331" y="1324193"/>
                  <a:pt x="6323331" y="1325936"/>
                </a:cubicBezTo>
                <a:lnTo>
                  <a:pt x="6323331" y="1338141"/>
                </a:lnTo>
                <a:cubicBezTo>
                  <a:pt x="6323331" y="1338141"/>
                  <a:pt x="6323331" y="1338141"/>
                  <a:pt x="6321659" y="1338141"/>
                </a:cubicBezTo>
                <a:lnTo>
                  <a:pt x="6309957" y="1338141"/>
                </a:lnTo>
                <a:cubicBezTo>
                  <a:pt x="6309957" y="1338141"/>
                  <a:pt x="6309957" y="1338141"/>
                  <a:pt x="6309957" y="1339448"/>
                </a:cubicBezTo>
                <a:lnTo>
                  <a:pt x="6309957" y="1348602"/>
                </a:lnTo>
                <a:cubicBezTo>
                  <a:pt x="6309957" y="1348602"/>
                  <a:pt x="6309957" y="1348602"/>
                  <a:pt x="6311629" y="1348602"/>
                </a:cubicBezTo>
                <a:lnTo>
                  <a:pt x="6323331" y="1348602"/>
                </a:lnTo>
                <a:cubicBezTo>
                  <a:pt x="6323331" y="1348602"/>
                  <a:pt x="6323331" y="1348602"/>
                  <a:pt x="6323331" y="1350345"/>
                </a:cubicBezTo>
                <a:lnTo>
                  <a:pt x="6323331" y="1362549"/>
                </a:lnTo>
                <a:cubicBezTo>
                  <a:pt x="6323331" y="1362549"/>
                  <a:pt x="6323331" y="1362549"/>
                  <a:pt x="6321659" y="1362549"/>
                </a:cubicBezTo>
                <a:lnTo>
                  <a:pt x="6309957" y="1362549"/>
                </a:lnTo>
                <a:cubicBezTo>
                  <a:pt x="6309957" y="1362549"/>
                  <a:pt x="6309957" y="1362549"/>
                  <a:pt x="6309957" y="1364292"/>
                </a:cubicBezTo>
                <a:lnTo>
                  <a:pt x="6309957" y="1376498"/>
                </a:lnTo>
                <a:cubicBezTo>
                  <a:pt x="6309957" y="1376498"/>
                  <a:pt x="6309957" y="1376498"/>
                  <a:pt x="6311629" y="1376498"/>
                </a:cubicBezTo>
                <a:lnTo>
                  <a:pt x="6323331" y="1376498"/>
                </a:lnTo>
                <a:cubicBezTo>
                  <a:pt x="6323331" y="1376498"/>
                  <a:pt x="6323331" y="1376498"/>
                  <a:pt x="6323331" y="1378241"/>
                </a:cubicBezTo>
                <a:lnTo>
                  <a:pt x="6323331" y="1390445"/>
                </a:lnTo>
                <a:cubicBezTo>
                  <a:pt x="6323331" y="1390445"/>
                  <a:pt x="6323331" y="1390445"/>
                  <a:pt x="6321659" y="1390445"/>
                </a:cubicBezTo>
                <a:lnTo>
                  <a:pt x="6309957" y="1390445"/>
                </a:lnTo>
                <a:cubicBezTo>
                  <a:pt x="6309957" y="1390445"/>
                  <a:pt x="6309957" y="1390445"/>
                  <a:pt x="6309957" y="1391753"/>
                </a:cubicBezTo>
                <a:lnTo>
                  <a:pt x="6309957" y="1400906"/>
                </a:lnTo>
                <a:cubicBezTo>
                  <a:pt x="6309957" y="1400906"/>
                  <a:pt x="6309957" y="1400906"/>
                  <a:pt x="6311629" y="1400906"/>
                </a:cubicBezTo>
                <a:lnTo>
                  <a:pt x="6323331" y="1400906"/>
                </a:lnTo>
                <a:cubicBezTo>
                  <a:pt x="6323331" y="1400906"/>
                  <a:pt x="6323331" y="1400906"/>
                  <a:pt x="6323331" y="1402650"/>
                </a:cubicBezTo>
                <a:lnTo>
                  <a:pt x="6323331" y="1414854"/>
                </a:lnTo>
                <a:cubicBezTo>
                  <a:pt x="6323331" y="1414854"/>
                  <a:pt x="6323331" y="1414854"/>
                  <a:pt x="6321659" y="1414854"/>
                </a:cubicBezTo>
                <a:lnTo>
                  <a:pt x="6309957" y="1414854"/>
                </a:lnTo>
                <a:cubicBezTo>
                  <a:pt x="6309957" y="1414854"/>
                  <a:pt x="6309957" y="1414854"/>
                  <a:pt x="6309957" y="1416597"/>
                </a:cubicBezTo>
                <a:lnTo>
                  <a:pt x="6309957" y="1428803"/>
                </a:lnTo>
                <a:cubicBezTo>
                  <a:pt x="6309957" y="1428803"/>
                  <a:pt x="6309957" y="1428803"/>
                  <a:pt x="6311629" y="1428803"/>
                </a:cubicBezTo>
                <a:lnTo>
                  <a:pt x="6323331" y="1428803"/>
                </a:lnTo>
                <a:cubicBezTo>
                  <a:pt x="6323331" y="1428803"/>
                  <a:pt x="6323331" y="1428803"/>
                  <a:pt x="6323331" y="1430109"/>
                </a:cubicBezTo>
                <a:lnTo>
                  <a:pt x="6323331" y="1439262"/>
                </a:lnTo>
                <a:cubicBezTo>
                  <a:pt x="6323331" y="1439262"/>
                  <a:pt x="6323331" y="1439262"/>
                  <a:pt x="6321659" y="1439262"/>
                </a:cubicBezTo>
                <a:lnTo>
                  <a:pt x="6309957" y="1439262"/>
                </a:lnTo>
                <a:cubicBezTo>
                  <a:pt x="6309957" y="1439262"/>
                  <a:pt x="6309957" y="1439262"/>
                  <a:pt x="6309957" y="1441007"/>
                </a:cubicBezTo>
                <a:lnTo>
                  <a:pt x="6309957" y="1453211"/>
                </a:lnTo>
                <a:cubicBezTo>
                  <a:pt x="6309957" y="1453211"/>
                  <a:pt x="6309957" y="1453211"/>
                  <a:pt x="6311629" y="1453211"/>
                </a:cubicBezTo>
                <a:lnTo>
                  <a:pt x="6323331" y="1453211"/>
                </a:lnTo>
                <a:cubicBezTo>
                  <a:pt x="6323331" y="1453211"/>
                  <a:pt x="6323331" y="1453211"/>
                  <a:pt x="6323331" y="1454954"/>
                </a:cubicBezTo>
                <a:lnTo>
                  <a:pt x="6323331" y="1467159"/>
                </a:lnTo>
                <a:cubicBezTo>
                  <a:pt x="6323331" y="1467159"/>
                  <a:pt x="6323331" y="1467159"/>
                  <a:pt x="6321659" y="1467159"/>
                </a:cubicBezTo>
                <a:lnTo>
                  <a:pt x="6309957" y="1467159"/>
                </a:lnTo>
                <a:cubicBezTo>
                  <a:pt x="6309957" y="1467159"/>
                  <a:pt x="6309957" y="1467159"/>
                  <a:pt x="6309957" y="1468902"/>
                </a:cubicBezTo>
                <a:lnTo>
                  <a:pt x="6309957" y="1481106"/>
                </a:lnTo>
                <a:cubicBezTo>
                  <a:pt x="6309957" y="1481106"/>
                  <a:pt x="6309957" y="1481106"/>
                  <a:pt x="6311629" y="1481106"/>
                </a:cubicBezTo>
                <a:lnTo>
                  <a:pt x="6323331" y="1481106"/>
                </a:lnTo>
                <a:cubicBezTo>
                  <a:pt x="6323331" y="1481106"/>
                  <a:pt x="6323331" y="1481106"/>
                  <a:pt x="6323331" y="1482414"/>
                </a:cubicBezTo>
                <a:lnTo>
                  <a:pt x="6323331" y="1491567"/>
                </a:lnTo>
                <a:cubicBezTo>
                  <a:pt x="6323331" y="1491567"/>
                  <a:pt x="6323331" y="1491567"/>
                  <a:pt x="6321659" y="1491567"/>
                </a:cubicBezTo>
                <a:lnTo>
                  <a:pt x="6309957" y="1491567"/>
                </a:lnTo>
                <a:cubicBezTo>
                  <a:pt x="6309957" y="1491567"/>
                  <a:pt x="6309957" y="1491567"/>
                  <a:pt x="6309957" y="1493310"/>
                </a:cubicBezTo>
                <a:lnTo>
                  <a:pt x="6309957" y="1505516"/>
                </a:lnTo>
                <a:cubicBezTo>
                  <a:pt x="6309957" y="1505516"/>
                  <a:pt x="6309957" y="1505516"/>
                  <a:pt x="6346735" y="1536899"/>
                </a:cubicBezTo>
                <a:cubicBezTo>
                  <a:pt x="6346735" y="1543872"/>
                  <a:pt x="6346735" y="1543872"/>
                  <a:pt x="6345065" y="1543872"/>
                </a:cubicBezTo>
                <a:lnTo>
                  <a:pt x="6333361" y="1543872"/>
                </a:lnTo>
                <a:cubicBezTo>
                  <a:pt x="6333361" y="1543872"/>
                  <a:pt x="6333361" y="1543872"/>
                  <a:pt x="6333361" y="1582229"/>
                </a:cubicBezTo>
                <a:cubicBezTo>
                  <a:pt x="6333361" y="1582229"/>
                  <a:pt x="6333361" y="1582229"/>
                  <a:pt x="6335035" y="1582229"/>
                </a:cubicBezTo>
                <a:lnTo>
                  <a:pt x="6346735" y="1582229"/>
                </a:lnTo>
                <a:cubicBezTo>
                  <a:pt x="6346735" y="1582229"/>
                  <a:pt x="6346735" y="1582229"/>
                  <a:pt x="6346735" y="1580049"/>
                </a:cubicBezTo>
                <a:lnTo>
                  <a:pt x="6346735" y="1564794"/>
                </a:lnTo>
                <a:cubicBezTo>
                  <a:pt x="6346735" y="1564794"/>
                  <a:pt x="6346735" y="1564794"/>
                  <a:pt x="6348407" y="1563923"/>
                </a:cubicBezTo>
                <a:lnTo>
                  <a:pt x="6360109" y="1557821"/>
                </a:lnTo>
                <a:cubicBezTo>
                  <a:pt x="6360109" y="1557821"/>
                  <a:pt x="6360109" y="1557821"/>
                  <a:pt x="6363035" y="1557821"/>
                </a:cubicBezTo>
                <a:lnTo>
                  <a:pt x="6383515" y="1557821"/>
                </a:lnTo>
                <a:cubicBezTo>
                  <a:pt x="6383515" y="1557821"/>
                  <a:pt x="6383515" y="1557821"/>
                  <a:pt x="6383515" y="1559564"/>
                </a:cubicBezTo>
                <a:lnTo>
                  <a:pt x="6383515" y="1571768"/>
                </a:lnTo>
                <a:cubicBezTo>
                  <a:pt x="6383515" y="1571768"/>
                  <a:pt x="6383515" y="1571768"/>
                  <a:pt x="6386023" y="1571768"/>
                </a:cubicBezTo>
                <a:lnTo>
                  <a:pt x="6403577" y="1571768"/>
                </a:lnTo>
                <a:cubicBezTo>
                  <a:pt x="6403577" y="1578741"/>
                  <a:pt x="6403577" y="1578741"/>
                  <a:pt x="6405247" y="1578741"/>
                </a:cubicBezTo>
                <a:lnTo>
                  <a:pt x="6416951" y="1578741"/>
                </a:lnTo>
                <a:cubicBezTo>
                  <a:pt x="6416951" y="1578741"/>
                  <a:pt x="6416951" y="1578741"/>
                  <a:pt x="6453729" y="1627559"/>
                </a:cubicBezTo>
                <a:cubicBezTo>
                  <a:pt x="6453729" y="1627559"/>
                  <a:pt x="6453729" y="1627559"/>
                  <a:pt x="6453729" y="1679864"/>
                </a:cubicBezTo>
                <a:cubicBezTo>
                  <a:pt x="6453729" y="1679864"/>
                  <a:pt x="6453729" y="1679864"/>
                  <a:pt x="6455399" y="1679864"/>
                </a:cubicBezTo>
                <a:lnTo>
                  <a:pt x="6467103" y="1679864"/>
                </a:lnTo>
                <a:cubicBezTo>
                  <a:pt x="6467103" y="1679864"/>
                  <a:pt x="6467103" y="1679864"/>
                  <a:pt x="6467103" y="1676813"/>
                </a:cubicBezTo>
                <a:lnTo>
                  <a:pt x="6467103" y="1655456"/>
                </a:lnTo>
                <a:cubicBezTo>
                  <a:pt x="6467103" y="1655456"/>
                  <a:pt x="6467103" y="1655456"/>
                  <a:pt x="6468357" y="1655456"/>
                </a:cubicBezTo>
                <a:lnTo>
                  <a:pt x="6477133" y="1655456"/>
                </a:lnTo>
                <a:cubicBezTo>
                  <a:pt x="6477133" y="1655456"/>
                  <a:pt x="6477133" y="1655456"/>
                  <a:pt x="6477133" y="1657199"/>
                </a:cubicBezTo>
                <a:lnTo>
                  <a:pt x="6477133" y="1669403"/>
                </a:lnTo>
                <a:cubicBezTo>
                  <a:pt x="6490507" y="1672891"/>
                  <a:pt x="6490507" y="1672891"/>
                  <a:pt x="6490507" y="1596177"/>
                </a:cubicBezTo>
                <a:cubicBezTo>
                  <a:pt x="6490507" y="1596177"/>
                  <a:pt x="6490507" y="1596177"/>
                  <a:pt x="6547347" y="1596177"/>
                </a:cubicBezTo>
                <a:cubicBezTo>
                  <a:pt x="6547347" y="1596177"/>
                  <a:pt x="6547347" y="1596177"/>
                  <a:pt x="6547347" y="1484594"/>
                </a:cubicBezTo>
                <a:cubicBezTo>
                  <a:pt x="6547347" y="1484594"/>
                  <a:pt x="6547347" y="1484594"/>
                  <a:pt x="6600843" y="1484594"/>
                </a:cubicBezTo>
                <a:cubicBezTo>
                  <a:pt x="6600843" y="1484594"/>
                  <a:pt x="6600843" y="1484594"/>
                  <a:pt x="6600843" y="1483286"/>
                </a:cubicBezTo>
                <a:lnTo>
                  <a:pt x="6600843" y="1474133"/>
                </a:lnTo>
                <a:cubicBezTo>
                  <a:pt x="6600843" y="1474133"/>
                  <a:pt x="6600843" y="1474133"/>
                  <a:pt x="6634279" y="1474133"/>
                </a:cubicBezTo>
                <a:cubicBezTo>
                  <a:pt x="6634279" y="1474133"/>
                  <a:pt x="6634279" y="1474133"/>
                  <a:pt x="6634279" y="1414854"/>
                </a:cubicBezTo>
                <a:cubicBezTo>
                  <a:pt x="6627591" y="1414854"/>
                  <a:pt x="6627591" y="1414854"/>
                  <a:pt x="6627591" y="1412238"/>
                </a:cubicBezTo>
                <a:lnTo>
                  <a:pt x="6627591" y="1393932"/>
                </a:lnTo>
                <a:lnTo>
                  <a:pt x="6634279" y="1397420"/>
                </a:lnTo>
                <a:cubicBezTo>
                  <a:pt x="6634279" y="1397420"/>
                  <a:pt x="6634279" y="1397420"/>
                  <a:pt x="6640967" y="1362549"/>
                </a:cubicBezTo>
                <a:cubicBezTo>
                  <a:pt x="6640967" y="1362549"/>
                  <a:pt x="6640967" y="1362549"/>
                  <a:pt x="6647653" y="1397420"/>
                </a:cubicBezTo>
                <a:cubicBezTo>
                  <a:pt x="6650997" y="1393932"/>
                  <a:pt x="6650997" y="1393932"/>
                  <a:pt x="6651415" y="1392624"/>
                </a:cubicBezTo>
                <a:lnTo>
                  <a:pt x="6654341" y="1383471"/>
                </a:lnTo>
                <a:cubicBezTo>
                  <a:pt x="6654341" y="1383471"/>
                  <a:pt x="6654341" y="1383471"/>
                  <a:pt x="6655175" y="1381728"/>
                </a:cubicBezTo>
                <a:lnTo>
                  <a:pt x="6661027" y="1369523"/>
                </a:lnTo>
                <a:cubicBezTo>
                  <a:pt x="6661027" y="1369523"/>
                  <a:pt x="6661027" y="1369523"/>
                  <a:pt x="6661863" y="1367780"/>
                </a:cubicBezTo>
                <a:lnTo>
                  <a:pt x="6667715" y="1355576"/>
                </a:lnTo>
                <a:cubicBezTo>
                  <a:pt x="6667715" y="1355576"/>
                  <a:pt x="6667715" y="1355576"/>
                  <a:pt x="6669803" y="1354268"/>
                </a:cubicBezTo>
                <a:lnTo>
                  <a:pt x="6684431" y="1345115"/>
                </a:lnTo>
                <a:cubicBezTo>
                  <a:pt x="6684431" y="1345115"/>
                  <a:pt x="6684431" y="1345115"/>
                  <a:pt x="6686939" y="1343372"/>
                </a:cubicBezTo>
                <a:lnTo>
                  <a:pt x="6704493" y="1331166"/>
                </a:lnTo>
                <a:cubicBezTo>
                  <a:pt x="6704493" y="1331166"/>
                  <a:pt x="6704493" y="1331166"/>
                  <a:pt x="6705747" y="1329423"/>
                </a:cubicBezTo>
                <a:lnTo>
                  <a:pt x="6714523" y="1317219"/>
                </a:lnTo>
                <a:cubicBezTo>
                  <a:pt x="6714523" y="1317219"/>
                  <a:pt x="6714523" y="1317219"/>
                  <a:pt x="6715359" y="1314168"/>
                </a:cubicBezTo>
                <a:lnTo>
                  <a:pt x="6721211" y="1292810"/>
                </a:lnTo>
                <a:cubicBezTo>
                  <a:pt x="6721211" y="1292810"/>
                  <a:pt x="6721211" y="1292810"/>
                  <a:pt x="6722047" y="1295861"/>
                </a:cubicBezTo>
                <a:lnTo>
                  <a:pt x="6727897" y="1317219"/>
                </a:lnTo>
                <a:cubicBezTo>
                  <a:pt x="6727897" y="1317219"/>
                  <a:pt x="6727897" y="1317219"/>
                  <a:pt x="6728733" y="1318526"/>
                </a:cubicBezTo>
                <a:lnTo>
                  <a:pt x="6734585" y="1327680"/>
                </a:lnTo>
                <a:cubicBezTo>
                  <a:pt x="6734585" y="1327680"/>
                  <a:pt x="6734585" y="1327680"/>
                  <a:pt x="6736675" y="1329423"/>
                </a:cubicBezTo>
                <a:lnTo>
                  <a:pt x="6751303" y="1341627"/>
                </a:lnTo>
                <a:cubicBezTo>
                  <a:pt x="6751303" y="1341627"/>
                  <a:pt x="6751303" y="1341627"/>
                  <a:pt x="6752975" y="1343372"/>
                </a:cubicBezTo>
                <a:lnTo>
                  <a:pt x="6764675" y="1355576"/>
                </a:lnTo>
                <a:cubicBezTo>
                  <a:pt x="6764675" y="1355576"/>
                  <a:pt x="6764675" y="1355576"/>
                  <a:pt x="6766349" y="1357319"/>
                </a:cubicBezTo>
                <a:lnTo>
                  <a:pt x="6778051" y="1369523"/>
                </a:lnTo>
                <a:cubicBezTo>
                  <a:pt x="6778051" y="1369523"/>
                  <a:pt x="6778051" y="1369523"/>
                  <a:pt x="6778469" y="1371267"/>
                </a:cubicBezTo>
                <a:lnTo>
                  <a:pt x="6781393" y="1383471"/>
                </a:lnTo>
                <a:cubicBezTo>
                  <a:pt x="6781393" y="1383471"/>
                  <a:pt x="6781393" y="1383471"/>
                  <a:pt x="6781811" y="1385214"/>
                </a:cubicBezTo>
                <a:lnTo>
                  <a:pt x="6784737" y="1397420"/>
                </a:lnTo>
                <a:cubicBezTo>
                  <a:pt x="6791423" y="1397420"/>
                  <a:pt x="6791423" y="1397420"/>
                  <a:pt x="6794767" y="1362549"/>
                </a:cubicBezTo>
                <a:cubicBezTo>
                  <a:pt x="6794767" y="1362549"/>
                  <a:pt x="6794767" y="1362549"/>
                  <a:pt x="6801455" y="1397420"/>
                </a:cubicBezTo>
                <a:cubicBezTo>
                  <a:pt x="6808141" y="1397420"/>
                  <a:pt x="6808141" y="1397420"/>
                  <a:pt x="6808141" y="1400034"/>
                </a:cubicBezTo>
                <a:lnTo>
                  <a:pt x="6808141" y="1418342"/>
                </a:lnTo>
                <a:cubicBezTo>
                  <a:pt x="6801455" y="1418342"/>
                  <a:pt x="6801455" y="1418342"/>
                  <a:pt x="6801455" y="1467159"/>
                </a:cubicBezTo>
                <a:cubicBezTo>
                  <a:pt x="6801455" y="1467159"/>
                  <a:pt x="6801455" y="1467159"/>
                  <a:pt x="6803127" y="1467159"/>
                </a:cubicBezTo>
                <a:lnTo>
                  <a:pt x="6814829" y="1467159"/>
                </a:lnTo>
                <a:cubicBezTo>
                  <a:pt x="6814829" y="1474133"/>
                  <a:pt x="6814829" y="1474133"/>
                  <a:pt x="6816083" y="1474133"/>
                </a:cubicBezTo>
                <a:lnTo>
                  <a:pt x="6824859" y="1474133"/>
                </a:lnTo>
                <a:cubicBezTo>
                  <a:pt x="6824859" y="1474133"/>
                  <a:pt x="6824859" y="1474133"/>
                  <a:pt x="6824859" y="1472390"/>
                </a:cubicBezTo>
                <a:lnTo>
                  <a:pt x="6824859" y="1460184"/>
                </a:lnTo>
                <a:cubicBezTo>
                  <a:pt x="6824859" y="1460184"/>
                  <a:pt x="6824859" y="1460184"/>
                  <a:pt x="6828203" y="1460184"/>
                </a:cubicBezTo>
                <a:lnTo>
                  <a:pt x="6851607" y="1460184"/>
                </a:lnTo>
                <a:cubicBezTo>
                  <a:pt x="6851607" y="1460184"/>
                  <a:pt x="6851607" y="1460184"/>
                  <a:pt x="6851607" y="1457133"/>
                </a:cubicBezTo>
                <a:lnTo>
                  <a:pt x="6851607" y="1435776"/>
                </a:lnTo>
                <a:cubicBezTo>
                  <a:pt x="6851607" y="1435776"/>
                  <a:pt x="6851607" y="1435776"/>
                  <a:pt x="6908447" y="1435776"/>
                </a:cubicBezTo>
                <a:cubicBezTo>
                  <a:pt x="6908447" y="1435776"/>
                  <a:pt x="6908447" y="1435776"/>
                  <a:pt x="6908447" y="1437956"/>
                </a:cubicBezTo>
                <a:lnTo>
                  <a:pt x="6908447" y="1453211"/>
                </a:lnTo>
                <a:cubicBezTo>
                  <a:pt x="6908447" y="1453211"/>
                  <a:pt x="6908447" y="1453211"/>
                  <a:pt x="6938539" y="1453211"/>
                </a:cubicBezTo>
                <a:cubicBezTo>
                  <a:pt x="6938539" y="1453211"/>
                  <a:pt x="6938539" y="1453211"/>
                  <a:pt x="6938539" y="1456698"/>
                </a:cubicBezTo>
                <a:lnTo>
                  <a:pt x="6938539" y="1481106"/>
                </a:lnTo>
                <a:cubicBezTo>
                  <a:pt x="6931853" y="1481106"/>
                  <a:pt x="6931853" y="1481106"/>
                  <a:pt x="6931853" y="1482414"/>
                </a:cubicBezTo>
                <a:lnTo>
                  <a:pt x="6931853" y="1491567"/>
                </a:lnTo>
                <a:cubicBezTo>
                  <a:pt x="6938539" y="1491567"/>
                  <a:pt x="6938539" y="1491567"/>
                  <a:pt x="6938539" y="1494183"/>
                </a:cubicBezTo>
                <a:lnTo>
                  <a:pt x="6938539" y="1512489"/>
                </a:lnTo>
                <a:lnTo>
                  <a:pt x="6931853" y="1519463"/>
                </a:lnTo>
                <a:cubicBezTo>
                  <a:pt x="6931853" y="1519463"/>
                  <a:pt x="6931853" y="1519463"/>
                  <a:pt x="6931853" y="1603151"/>
                </a:cubicBezTo>
                <a:cubicBezTo>
                  <a:pt x="6931853" y="1603151"/>
                  <a:pt x="6931853" y="1603151"/>
                  <a:pt x="6934777" y="1603151"/>
                </a:cubicBezTo>
                <a:lnTo>
                  <a:pt x="6955257" y="1603151"/>
                </a:lnTo>
                <a:cubicBezTo>
                  <a:pt x="6955257" y="1610124"/>
                  <a:pt x="6955257" y="1610124"/>
                  <a:pt x="6957763" y="1610124"/>
                </a:cubicBezTo>
                <a:lnTo>
                  <a:pt x="6975319" y="1610124"/>
                </a:lnTo>
                <a:cubicBezTo>
                  <a:pt x="6975319" y="1610124"/>
                  <a:pt x="6975319" y="1610124"/>
                  <a:pt x="6975319" y="1613175"/>
                </a:cubicBezTo>
                <a:lnTo>
                  <a:pt x="6975319" y="1634534"/>
                </a:lnTo>
                <a:cubicBezTo>
                  <a:pt x="6975319" y="1634534"/>
                  <a:pt x="6975319" y="1634534"/>
                  <a:pt x="6977827" y="1634534"/>
                </a:cubicBezTo>
                <a:lnTo>
                  <a:pt x="6995379" y="1634534"/>
                </a:lnTo>
                <a:cubicBezTo>
                  <a:pt x="6995379" y="1634534"/>
                  <a:pt x="6995379" y="1634534"/>
                  <a:pt x="6995379" y="1631483"/>
                </a:cubicBezTo>
                <a:lnTo>
                  <a:pt x="6995379" y="1610124"/>
                </a:lnTo>
                <a:cubicBezTo>
                  <a:pt x="6995379" y="1610124"/>
                  <a:pt x="6995379" y="1610124"/>
                  <a:pt x="6998303" y="1608381"/>
                </a:cubicBezTo>
                <a:lnTo>
                  <a:pt x="7018783" y="1596177"/>
                </a:lnTo>
                <a:cubicBezTo>
                  <a:pt x="7018783" y="1596177"/>
                  <a:pt x="7018783" y="1596177"/>
                  <a:pt x="7018783" y="1564794"/>
                </a:cubicBezTo>
                <a:cubicBezTo>
                  <a:pt x="7012097" y="1564794"/>
                  <a:pt x="7012097" y="1564794"/>
                  <a:pt x="7012097" y="1529924"/>
                </a:cubicBezTo>
                <a:cubicBezTo>
                  <a:pt x="7012097" y="1529924"/>
                  <a:pt x="7012097" y="1529924"/>
                  <a:pt x="7013767" y="1529924"/>
                </a:cubicBezTo>
                <a:lnTo>
                  <a:pt x="7025471" y="1529924"/>
                </a:lnTo>
                <a:cubicBezTo>
                  <a:pt x="7025471" y="1526438"/>
                  <a:pt x="7025471" y="1526438"/>
                  <a:pt x="7055563" y="1526438"/>
                </a:cubicBezTo>
                <a:cubicBezTo>
                  <a:pt x="7055563" y="1526438"/>
                  <a:pt x="7055563" y="1526438"/>
                  <a:pt x="7055563" y="1524693"/>
                </a:cubicBezTo>
                <a:lnTo>
                  <a:pt x="7055563" y="1512489"/>
                </a:lnTo>
                <a:cubicBezTo>
                  <a:pt x="7055563" y="1512489"/>
                  <a:pt x="7055563" y="1512489"/>
                  <a:pt x="7058071" y="1512489"/>
                </a:cubicBezTo>
                <a:lnTo>
                  <a:pt x="7075623" y="1512489"/>
                </a:lnTo>
                <a:cubicBezTo>
                  <a:pt x="7075623" y="1512489"/>
                  <a:pt x="7075623" y="1512489"/>
                  <a:pt x="7075623" y="1338141"/>
                </a:cubicBezTo>
                <a:cubicBezTo>
                  <a:pt x="7075623" y="1338141"/>
                  <a:pt x="7075623" y="1338141"/>
                  <a:pt x="7077295" y="1338141"/>
                </a:cubicBezTo>
                <a:lnTo>
                  <a:pt x="7088997" y="1338141"/>
                </a:lnTo>
                <a:cubicBezTo>
                  <a:pt x="7088997" y="1338141"/>
                  <a:pt x="7088997" y="1338141"/>
                  <a:pt x="7088997" y="1334654"/>
                </a:cubicBezTo>
                <a:lnTo>
                  <a:pt x="7088997" y="1310244"/>
                </a:lnTo>
                <a:cubicBezTo>
                  <a:pt x="7092341" y="1310244"/>
                  <a:pt x="7092341" y="1310244"/>
                  <a:pt x="7092341" y="1240505"/>
                </a:cubicBezTo>
                <a:cubicBezTo>
                  <a:pt x="7092341" y="1240505"/>
                  <a:pt x="7092341" y="1240505"/>
                  <a:pt x="7094013" y="1240505"/>
                </a:cubicBezTo>
                <a:lnTo>
                  <a:pt x="7105715" y="1240505"/>
                </a:lnTo>
                <a:cubicBezTo>
                  <a:pt x="7105715" y="1240505"/>
                  <a:pt x="7105715" y="1240505"/>
                  <a:pt x="7105715" y="1242249"/>
                </a:cubicBezTo>
                <a:lnTo>
                  <a:pt x="7105715" y="1254453"/>
                </a:lnTo>
                <a:cubicBezTo>
                  <a:pt x="7112401" y="1254453"/>
                  <a:pt x="7112401" y="1254453"/>
                  <a:pt x="7112401" y="1250966"/>
                </a:cubicBezTo>
                <a:lnTo>
                  <a:pt x="7112401" y="1226558"/>
                </a:lnTo>
                <a:cubicBezTo>
                  <a:pt x="7112401" y="1226558"/>
                  <a:pt x="7112401" y="1226558"/>
                  <a:pt x="7114491" y="1225686"/>
                </a:cubicBezTo>
                <a:lnTo>
                  <a:pt x="7129119" y="1219584"/>
                </a:lnTo>
                <a:cubicBezTo>
                  <a:pt x="7129119" y="1219584"/>
                  <a:pt x="7129119" y="1219584"/>
                  <a:pt x="7130791" y="1220456"/>
                </a:cubicBezTo>
                <a:lnTo>
                  <a:pt x="7142493" y="1226558"/>
                </a:lnTo>
                <a:cubicBezTo>
                  <a:pt x="7142493" y="1226558"/>
                  <a:pt x="7142493" y="1226558"/>
                  <a:pt x="7145001" y="1226558"/>
                </a:cubicBezTo>
                <a:lnTo>
                  <a:pt x="7162555" y="1226558"/>
                </a:lnTo>
                <a:cubicBezTo>
                  <a:pt x="7162555" y="1226558"/>
                  <a:pt x="7162555" y="1226558"/>
                  <a:pt x="7162555" y="1181226"/>
                </a:cubicBezTo>
                <a:cubicBezTo>
                  <a:pt x="7162555" y="1181226"/>
                  <a:pt x="7162555" y="1181226"/>
                  <a:pt x="7164227" y="1181226"/>
                </a:cubicBezTo>
                <a:lnTo>
                  <a:pt x="7175927" y="1181226"/>
                </a:lnTo>
                <a:cubicBezTo>
                  <a:pt x="7175927" y="1188201"/>
                  <a:pt x="7175927" y="1188201"/>
                  <a:pt x="7178017" y="1188201"/>
                </a:cubicBezTo>
                <a:lnTo>
                  <a:pt x="7192647" y="1188201"/>
                </a:lnTo>
                <a:cubicBezTo>
                  <a:pt x="7192647" y="1181226"/>
                  <a:pt x="7192647" y="1181226"/>
                  <a:pt x="7194319" y="1181226"/>
                </a:cubicBezTo>
                <a:lnTo>
                  <a:pt x="7206021" y="1181226"/>
                </a:lnTo>
                <a:cubicBezTo>
                  <a:pt x="7206021" y="1181226"/>
                  <a:pt x="7206021" y="1181226"/>
                  <a:pt x="7206021" y="1233531"/>
                </a:cubicBezTo>
                <a:cubicBezTo>
                  <a:pt x="7206021" y="1233531"/>
                  <a:pt x="7206021" y="1233531"/>
                  <a:pt x="7208111" y="1235274"/>
                </a:cubicBezTo>
                <a:lnTo>
                  <a:pt x="7222739" y="1247480"/>
                </a:lnTo>
                <a:cubicBezTo>
                  <a:pt x="7219395" y="1257941"/>
                  <a:pt x="7219395" y="1257941"/>
                  <a:pt x="7256173" y="1257941"/>
                </a:cubicBezTo>
                <a:cubicBezTo>
                  <a:pt x="7256173" y="1257941"/>
                  <a:pt x="7256173" y="1257941"/>
                  <a:pt x="7256173" y="1255761"/>
                </a:cubicBezTo>
                <a:lnTo>
                  <a:pt x="7256173" y="1240505"/>
                </a:lnTo>
                <a:cubicBezTo>
                  <a:pt x="7256173" y="1240505"/>
                  <a:pt x="7256173" y="1240505"/>
                  <a:pt x="7299639" y="1226558"/>
                </a:cubicBezTo>
                <a:cubicBezTo>
                  <a:pt x="7299639" y="1226558"/>
                  <a:pt x="7299639" y="1226558"/>
                  <a:pt x="7299639" y="1224815"/>
                </a:cubicBezTo>
                <a:lnTo>
                  <a:pt x="7299639" y="1212609"/>
                </a:lnTo>
                <a:cubicBezTo>
                  <a:pt x="7299639" y="1212609"/>
                  <a:pt x="7299639" y="1212609"/>
                  <a:pt x="7300893" y="1212609"/>
                </a:cubicBezTo>
                <a:lnTo>
                  <a:pt x="7309669" y="1212609"/>
                </a:lnTo>
                <a:cubicBezTo>
                  <a:pt x="7309669" y="1212609"/>
                  <a:pt x="7309669" y="1212609"/>
                  <a:pt x="7309669" y="1211303"/>
                </a:cubicBezTo>
                <a:lnTo>
                  <a:pt x="7309669" y="1202148"/>
                </a:lnTo>
                <a:cubicBezTo>
                  <a:pt x="7309669" y="1202148"/>
                  <a:pt x="7309669" y="1202148"/>
                  <a:pt x="7313013" y="1202148"/>
                </a:cubicBezTo>
                <a:lnTo>
                  <a:pt x="7336417" y="1202148"/>
                </a:lnTo>
                <a:cubicBezTo>
                  <a:pt x="7336417" y="1202148"/>
                  <a:pt x="7336417" y="1202148"/>
                  <a:pt x="7336417" y="1203456"/>
                </a:cubicBezTo>
                <a:lnTo>
                  <a:pt x="7336417" y="1212609"/>
                </a:lnTo>
                <a:cubicBezTo>
                  <a:pt x="7336417" y="1212609"/>
                  <a:pt x="7336417" y="1212609"/>
                  <a:pt x="7338925" y="1212609"/>
                </a:cubicBezTo>
                <a:lnTo>
                  <a:pt x="7356479" y="1212609"/>
                </a:lnTo>
                <a:cubicBezTo>
                  <a:pt x="7356479" y="1212609"/>
                  <a:pt x="7356479" y="1212609"/>
                  <a:pt x="7356479" y="1215225"/>
                </a:cubicBezTo>
                <a:lnTo>
                  <a:pt x="7356479" y="1233531"/>
                </a:lnTo>
                <a:cubicBezTo>
                  <a:pt x="7356479" y="1233531"/>
                  <a:pt x="7356479" y="1233531"/>
                  <a:pt x="7393257" y="1233531"/>
                </a:cubicBezTo>
                <a:cubicBezTo>
                  <a:pt x="7393257" y="1233531"/>
                  <a:pt x="7393257" y="1233531"/>
                  <a:pt x="7393257" y="1231788"/>
                </a:cubicBezTo>
                <a:lnTo>
                  <a:pt x="7393257" y="1219584"/>
                </a:lnTo>
                <a:cubicBezTo>
                  <a:pt x="7393257" y="1219584"/>
                  <a:pt x="7393257" y="1219584"/>
                  <a:pt x="7395347" y="1219584"/>
                </a:cubicBezTo>
                <a:lnTo>
                  <a:pt x="7409975" y="1219584"/>
                </a:lnTo>
                <a:cubicBezTo>
                  <a:pt x="7409975" y="1219584"/>
                  <a:pt x="7409975" y="1219584"/>
                  <a:pt x="7409975" y="1217840"/>
                </a:cubicBezTo>
                <a:lnTo>
                  <a:pt x="7409975" y="1205636"/>
                </a:lnTo>
                <a:cubicBezTo>
                  <a:pt x="7409975" y="1205636"/>
                  <a:pt x="7409975" y="1205636"/>
                  <a:pt x="7412483" y="1205636"/>
                </a:cubicBezTo>
                <a:lnTo>
                  <a:pt x="7430035" y="1205636"/>
                </a:lnTo>
                <a:cubicBezTo>
                  <a:pt x="7430035" y="1205636"/>
                  <a:pt x="7430035" y="1205636"/>
                  <a:pt x="7430035" y="1207379"/>
                </a:cubicBezTo>
                <a:lnTo>
                  <a:pt x="7430035" y="1219584"/>
                </a:lnTo>
                <a:cubicBezTo>
                  <a:pt x="7436723" y="1219584"/>
                  <a:pt x="7436723" y="1219584"/>
                  <a:pt x="7436723" y="1135896"/>
                </a:cubicBezTo>
                <a:cubicBezTo>
                  <a:pt x="7436723" y="1135896"/>
                  <a:pt x="7436723" y="1135896"/>
                  <a:pt x="7587181" y="1135896"/>
                </a:cubicBezTo>
                <a:cubicBezTo>
                  <a:pt x="7587181" y="1135896"/>
                  <a:pt x="7587181" y="1135896"/>
                  <a:pt x="7587181" y="1247480"/>
                </a:cubicBezTo>
                <a:cubicBezTo>
                  <a:pt x="7587181" y="1247480"/>
                  <a:pt x="7587181" y="1247480"/>
                  <a:pt x="7590525" y="1247480"/>
                </a:cubicBezTo>
                <a:lnTo>
                  <a:pt x="7613929" y="1247480"/>
                </a:lnTo>
                <a:cubicBezTo>
                  <a:pt x="7613929" y="1247480"/>
                  <a:pt x="7613929" y="1247480"/>
                  <a:pt x="7613929" y="1121948"/>
                </a:cubicBezTo>
                <a:cubicBezTo>
                  <a:pt x="7613929" y="1121948"/>
                  <a:pt x="7613929" y="1121948"/>
                  <a:pt x="7647365" y="1104513"/>
                </a:cubicBezTo>
                <a:cubicBezTo>
                  <a:pt x="7647365" y="1104513"/>
                  <a:pt x="7647365" y="1104513"/>
                  <a:pt x="7690831" y="1104513"/>
                </a:cubicBezTo>
                <a:cubicBezTo>
                  <a:pt x="7690831" y="1104513"/>
                  <a:pt x="7690831" y="1104513"/>
                  <a:pt x="7693757" y="1101899"/>
                </a:cubicBezTo>
                <a:lnTo>
                  <a:pt x="7714235" y="1083591"/>
                </a:lnTo>
                <a:cubicBezTo>
                  <a:pt x="7714235" y="1083591"/>
                  <a:pt x="7714235" y="1083591"/>
                  <a:pt x="7771075" y="1083591"/>
                </a:cubicBezTo>
                <a:cubicBezTo>
                  <a:pt x="7771075" y="1083591"/>
                  <a:pt x="7771075" y="1083591"/>
                  <a:pt x="7771075" y="1086207"/>
                </a:cubicBezTo>
                <a:lnTo>
                  <a:pt x="7771075" y="1104513"/>
                </a:lnTo>
                <a:cubicBezTo>
                  <a:pt x="7771075" y="1104513"/>
                  <a:pt x="7771075" y="1104513"/>
                  <a:pt x="7827915" y="1104513"/>
                </a:cubicBezTo>
                <a:cubicBezTo>
                  <a:pt x="7827915" y="1104513"/>
                  <a:pt x="7827915" y="1104513"/>
                  <a:pt x="7827915" y="1240505"/>
                </a:cubicBezTo>
                <a:cubicBezTo>
                  <a:pt x="7827915" y="1240505"/>
                  <a:pt x="7827915" y="1240505"/>
                  <a:pt x="7830005" y="1240505"/>
                </a:cubicBezTo>
                <a:lnTo>
                  <a:pt x="7844633" y="1240505"/>
                </a:lnTo>
                <a:cubicBezTo>
                  <a:pt x="7844633" y="1240505"/>
                  <a:pt x="7844633" y="1240505"/>
                  <a:pt x="7844633" y="1439262"/>
                </a:cubicBezTo>
                <a:cubicBezTo>
                  <a:pt x="7844633" y="1439262"/>
                  <a:pt x="7844633" y="1439262"/>
                  <a:pt x="7847975" y="1439262"/>
                </a:cubicBezTo>
                <a:lnTo>
                  <a:pt x="7871381" y="1439262"/>
                </a:lnTo>
                <a:cubicBezTo>
                  <a:pt x="7871381" y="1439262"/>
                  <a:pt x="7871381" y="1439262"/>
                  <a:pt x="7871381" y="1310244"/>
                </a:cubicBezTo>
                <a:cubicBezTo>
                  <a:pt x="7871381" y="1310244"/>
                  <a:pt x="7871381" y="1310244"/>
                  <a:pt x="7872635" y="1309373"/>
                </a:cubicBezTo>
                <a:lnTo>
                  <a:pt x="7881411" y="1303271"/>
                </a:lnTo>
                <a:cubicBezTo>
                  <a:pt x="7888099" y="1303271"/>
                  <a:pt x="7888099" y="1303271"/>
                  <a:pt x="7888099" y="1305014"/>
                </a:cubicBezTo>
                <a:lnTo>
                  <a:pt x="7888099" y="1317219"/>
                </a:lnTo>
                <a:cubicBezTo>
                  <a:pt x="7888099" y="1317219"/>
                  <a:pt x="7888099" y="1317219"/>
                  <a:pt x="7891441" y="1315475"/>
                </a:cubicBezTo>
                <a:lnTo>
                  <a:pt x="7914847" y="1303271"/>
                </a:lnTo>
                <a:cubicBezTo>
                  <a:pt x="7914847" y="1303271"/>
                  <a:pt x="7914847" y="1303271"/>
                  <a:pt x="7917773" y="1303271"/>
                </a:cubicBezTo>
                <a:lnTo>
                  <a:pt x="7938251" y="1303271"/>
                </a:lnTo>
                <a:cubicBezTo>
                  <a:pt x="7938251" y="1303271"/>
                  <a:pt x="7938251" y="1303271"/>
                  <a:pt x="7938251" y="1540385"/>
                </a:cubicBezTo>
                <a:cubicBezTo>
                  <a:pt x="7938251" y="1540385"/>
                  <a:pt x="7938251" y="1540385"/>
                  <a:pt x="7985061" y="1547360"/>
                </a:cubicBezTo>
                <a:cubicBezTo>
                  <a:pt x="7985061" y="1543872"/>
                  <a:pt x="7985061" y="1540385"/>
                  <a:pt x="7985061" y="1536899"/>
                </a:cubicBezTo>
                <a:cubicBezTo>
                  <a:pt x="8001779" y="1536899"/>
                  <a:pt x="8018495" y="1536899"/>
                  <a:pt x="8035213" y="1536899"/>
                </a:cubicBezTo>
                <a:cubicBezTo>
                  <a:pt x="8035213" y="1519463"/>
                  <a:pt x="8035213" y="1505516"/>
                  <a:pt x="8035213" y="1491567"/>
                </a:cubicBezTo>
                <a:lnTo>
                  <a:pt x="8048587" y="1491567"/>
                </a:lnTo>
                <a:cubicBezTo>
                  <a:pt x="8048587" y="1470645"/>
                  <a:pt x="8048587" y="1453211"/>
                  <a:pt x="8048587" y="1432289"/>
                </a:cubicBezTo>
                <a:cubicBezTo>
                  <a:pt x="8051931" y="1432289"/>
                  <a:pt x="8055275" y="1432289"/>
                  <a:pt x="8058619" y="1432289"/>
                </a:cubicBezTo>
                <a:cubicBezTo>
                  <a:pt x="8058619" y="1411367"/>
                  <a:pt x="8058619" y="1393932"/>
                  <a:pt x="8058619" y="1373010"/>
                </a:cubicBezTo>
                <a:cubicBezTo>
                  <a:pt x="8065305" y="1373010"/>
                  <a:pt x="8071991" y="1373010"/>
                  <a:pt x="8082023" y="1373010"/>
                </a:cubicBezTo>
                <a:cubicBezTo>
                  <a:pt x="8105427" y="1366037"/>
                  <a:pt x="8132175" y="1352088"/>
                  <a:pt x="8155579" y="1341627"/>
                </a:cubicBezTo>
                <a:cubicBezTo>
                  <a:pt x="8158923" y="1331166"/>
                  <a:pt x="8158923" y="1320705"/>
                  <a:pt x="8158923" y="1310244"/>
                </a:cubicBezTo>
                <a:cubicBezTo>
                  <a:pt x="8162267" y="1320705"/>
                  <a:pt x="8162267" y="1331166"/>
                  <a:pt x="8165611" y="1341627"/>
                </a:cubicBezTo>
                <a:cubicBezTo>
                  <a:pt x="8192359" y="1355576"/>
                  <a:pt x="8215763" y="1369523"/>
                  <a:pt x="8242511" y="1383471"/>
                </a:cubicBezTo>
                <a:cubicBezTo>
                  <a:pt x="8242511" y="1379993"/>
                  <a:pt x="8242511" y="1376516"/>
                  <a:pt x="8242511" y="1376498"/>
                </a:cubicBezTo>
                <a:cubicBezTo>
                  <a:pt x="8249197" y="1376498"/>
                  <a:pt x="8255887" y="1376498"/>
                  <a:pt x="8262573" y="1376498"/>
                </a:cubicBezTo>
                <a:cubicBezTo>
                  <a:pt x="8262573" y="1393932"/>
                  <a:pt x="8262573" y="1414854"/>
                  <a:pt x="8262573" y="1432289"/>
                </a:cubicBezTo>
                <a:cubicBezTo>
                  <a:pt x="8265917" y="1432289"/>
                  <a:pt x="8269259" y="1432289"/>
                  <a:pt x="8272603" y="1432289"/>
                </a:cubicBezTo>
                <a:cubicBezTo>
                  <a:pt x="8272603" y="1453211"/>
                  <a:pt x="8272603" y="1474133"/>
                  <a:pt x="8272603" y="1498541"/>
                </a:cubicBezTo>
                <a:cubicBezTo>
                  <a:pt x="8275947" y="1498541"/>
                  <a:pt x="8279291" y="1498541"/>
                  <a:pt x="8282635" y="1498541"/>
                </a:cubicBezTo>
                <a:cubicBezTo>
                  <a:pt x="8282635" y="1509002"/>
                  <a:pt x="8282635" y="1519463"/>
                  <a:pt x="8282635" y="1529924"/>
                </a:cubicBezTo>
                <a:cubicBezTo>
                  <a:pt x="8289321" y="1529924"/>
                  <a:pt x="8296007" y="1529924"/>
                  <a:pt x="8302695" y="1529924"/>
                </a:cubicBezTo>
                <a:cubicBezTo>
                  <a:pt x="8302695" y="1547360"/>
                  <a:pt x="8302695" y="1561307"/>
                  <a:pt x="8302695" y="1578741"/>
                </a:cubicBezTo>
                <a:cubicBezTo>
                  <a:pt x="8346161" y="1575255"/>
                  <a:pt x="8386283" y="1571768"/>
                  <a:pt x="8429747" y="1568280"/>
                </a:cubicBezTo>
                <a:cubicBezTo>
                  <a:pt x="8429747" y="1550846"/>
                  <a:pt x="8429747" y="1536899"/>
                  <a:pt x="8429747" y="1519463"/>
                </a:cubicBezTo>
                <a:cubicBezTo>
                  <a:pt x="8453153" y="1519463"/>
                  <a:pt x="8476557" y="1519463"/>
                  <a:pt x="8496619" y="1519463"/>
                </a:cubicBezTo>
                <a:cubicBezTo>
                  <a:pt x="8496619" y="1509002"/>
                  <a:pt x="8496619" y="1502028"/>
                  <a:pt x="8496619" y="1491567"/>
                </a:cubicBezTo>
                <a:cubicBezTo>
                  <a:pt x="8543429" y="1491567"/>
                  <a:pt x="8590237" y="1491567"/>
                  <a:pt x="8637047" y="1491567"/>
                </a:cubicBezTo>
                <a:cubicBezTo>
                  <a:pt x="8637047" y="1498541"/>
                  <a:pt x="8637047" y="1502028"/>
                  <a:pt x="8637047" y="1509002"/>
                </a:cubicBezTo>
                <a:cubicBezTo>
                  <a:pt x="8667139" y="1509002"/>
                  <a:pt x="8697229" y="1509002"/>
                  <a:pt x="8727321" y="1509002"/>
                </a:cubicBezTo>
                <a:cubicBezTo>
                  <a:pt x="8727321" y="1512489"/>
                  <a:pt x="8727321" y="1515977"/>
                  <a:pt x="8727321" y="1519463"/>
                </a:cubicBezTo>
                <a:cubicBezTo>
                  <a:pt x="8734007" y="1519463"/>
                  <a:pt x="8744039" y="1519463"/>
                  <a:pt x="8754069" y="1519463"/>
                </a:cubicBezTo>
                <a:cubicBezTo>
                  <a:pt x="8754069" y="1522950"/>
                  <a:pt x="8754069" y="1526438"/>
                  <a:pt x="8754069" y="1529924"/>
                </a:cubicBezTo>
                <a:cubicBezTo>
                  <a:pt x="8760755" y="1529924"/>
                  <a:pt x="8770787" y="1529924"/>
                  <a:pt x="8777473" y="1529924"/>
                </a:cubicBezTo>
                <a:cubicBezTo>
                  <a:pt x="8777473" y="1519920"/>
                  <a:pt x="8777473" y="1509917"/>
                  <a:pt x="8777473" y="1499913"/>
                </a:cubicBezTo>
                <a:lnTo>
                  <a:pt x="8882887" y="1682495"/>
                </a:lnTo>
                <a:lnTo>
                  <a:pt x="0" y="1682495"/>
                </a:lnTo>
                <a:lnTo>
                  <a:pt x="63077" y="1573241"/>
                </a:lnTo>
                <a:cubicBezTo>
                  <a:pt x="82889" y="1571585"/>
                  <a:pt x="102742" y="1569932"/>
                  <a:pt x="123345" y="1568279"/>
                </a:cubicBezTo>
                <a:cubicBezTo>
                  <a:pt x="123345" y="1550844"/>
                  <a:pt x="123345" y="1536897"/>
                  <a:pt x="123345" y="1519461"/>
                </a:cubicBezTo>
                <a:cubicBezTo>
                  <a:pt x="146749" y="1519461"/>
                  <a:pt x="170153" y="1519461"/>
                  <a:pt x="190215" y="1519461"/>
                </a:cubicBezTo>
                <a:cubicBezTo>
                  <a:pt x="190215" y="1509000"/>
                  <a:pt x="190215" y="1502027"/>
                  <a:pt x="190215" y="1491566"/>
                </a:cubicBezTo>
                <a:cubicBezTo>
                  <a:pt x="237025" y="1491566"/>
                  <a:pt x="283834" y="1491566"/>
                  <a:pt x="330643" y="1491566"/>
                </a:cubicBezTo>
                <a:cubicBezTo>
                  <a:pt x="330643" y="1498539"/>
                  <a:pt x="330643" y="1502027"/>
                  <a:pt x="330643" y="1509000"/>
                </a:cubicBezTo>
                <a:cubicBezTo>
                  <a:pt x="360735" y="1509000"/>
                  <a:pt x="390826" y="1509000"/>
                  <a:pt x="420917" y="1509000"/>
                </a:cubicBezTo>
                <a:cubicBezTo>
                  <a:pt x="420917" y="1512488"/>
                  <a:pt x="420917" y="1515975"/>
                  <a:pt x="420917" y="1519461"/>
                </a:cubicBezTo>
                <a:cubicBezTo>
                  <a:pt x="427605" y="1519461"/>
                  <a:pt x="437635" y="1519461"/>
                  <a:pt x="447665" y="1519461"/>
                </a:cubicBezTo>
                <a:cubicBezTo>
                  <a:pt x="447665" y="1522949"/>
                  <a:pt x="447665" y="1526436"/>
                  <a:pt x="447665" y="1529922"/>
                </a:cubicBezTo>
                <a:cubicBezTo>
                  <a:pt x="454353" y="1529922"/>
                  <a:pt x="464383" y="1529922"/>
                  <a:pt x="471070" y="1529922"/>
                </a:cubicBezTo>
                <a:cubicBezTo>
                  <a:pt x="471070" y="1477619"/>
                  <a:pt x="471070" y="1425314"/>
                  <a:pt x="471070" y="1373009"/>
                </a:cubicBezTo>
                <a:cubicBezTo>
                  <a:pt x="494475" y="1366035"/>
                  <a:pt x="517881" y="1359062"/>
                  <a:pt x="541285" y="1352087"/>
                </a:cubicBezTo>
                <a:cubicBezTo>
                  <a:pt x="584751" y="1352087"/>
                  <a:pt x="628216" y="1352087"/>
                  <a:pt x="671681" y="1352087"/>
                </a:cubicBezTo>
                <a:cubicBezTo>
                  <a:pt x="671681" y="1268400"/>
                  <a:pt x="671681" y="1184712"/>
                  <a:pt x="671681" y="1101026"/>
                </a:cubicBezTo>
                <a:cubicBezTo>
                  <a:pt x="681712" y="1094051"/>
                  <a:pt x="695086" y="1090565"/>
                  <a:pt x="708460" y="1083590"/>
                </a:cubicBezTo>
                <a:cubicBezTo>
                  <a:pt x="761956" y="1076616"/>
                  <a:pt x="815453" y="1066155"/>
                  <a:pt x="868949" y="1055694"/>
                </a:cubicBezTo>
                <a:cubicBezTo>
                  <a:pt x="889011" y="1062668"/>
                  <a:pt x="905728" y="1069643"/>
                  <a:pt x="925789" y="1073129"/>
                </a:cubicBezTo>
                <a:cubicBezTo>
                  <a:pt x="929133" y="1076616"/>
                  <a:pt x="932476" y="1080104"/>
                  <a:pt x="935819" y="1083590"/>
                </a:cubicBezTo>
                <a:cubicBezTo>
                  <a:pt x="935819" y="1240503"/>
                  <a:pt x="935819" y="1397418"/>
                  <a:pt x="935819" y="1550844"/>
                </a:cubicBezTo>
                <a:cubicBezTo>
                  <a:pt x="942507" y="1550844"/>
                  <a:pt x="949193" y="1550844"/>
                  <a:pt x="959224" y="1550844"/>
                </a:cubicBezTo>
                <a:cubicBezTo>
                  <a:pt x="959224" y="1488080"/>
                  <a:pt x="959224" y="1425314"/>
                  <a:pt x="959224" y="1362548"/>
                </a:cubicBezTo>
                <a:cubicBezTo>
                  <a:pt x="965911" y="1362548"/>
                  <a:pt x="972598" y="1362548"/>
                  <a:pt x="979285" y="1362548"/>
                </a:cubicBezTo>
                <a:cubicBezTo>
                  <a:pt x="979285" y="1355574"/>
                  <a:pt x="979285" y="1352087"/>
                  <a:pt x="979285" y="1345113"/>
                </a:cubicBezTo>
                <a:cubicBezTo>
                  <a:pt x="985972" y="1341626"/>
                  <a:pt x="992659" y="1338140"/>
                  <a:pt x="999346" y="1334652"/>
                </a:cubicBezTo>
                <a:lnTo>
                  <a:pt x="1016063" y="1334652"/>
                </a:lnTo>
                <a:cubicBezTo>
                  <a:pt x="1016063" y="1327679"/>
                  <a:pt x="1016063" y="1324191"/>
                  <a:pt x="1016063" y="1317218"/>
                </a:cubicBezTo>
                <a:cubicBezTo>
                  <a:pt x="1019407" y="1313730"/>
                  <a:pt x="1026094" y="1310243"/>
                  <a:pt x="1029437" y="1306757"/>
                </a:cubicBezTo>
                <a:cubicBezTo>
                  <a:pt x="1039469" y="1306757"/>
                  <a:pt x="1052843" y="1306757"/>
                  <a:pt x="1062874" y="1306757"/>
                </a:cubicBezTo>
                <a:cubicBezTo>
                  <a:pt x="1062874" y="1324191"/>
                  <a:pt x="1062874" y="1345113"/>
                  <a:pt x="1062874" y="1362548"/>
                </a:cubicBezTo>
                <a:cubicBezTo>
                  <a:pt x="1086279" y="1362548"/>
                  <a:pt x="1109683" y="1362548"/>
                  <a:pt x="1133087" y="1362548"/>
                </a:cubicBezTo>
                <a:cubicBezTo>
                  <a:pt x="1133087" y="1428801"/>
                  <a:pt x="1133087" y="1491566"/>
                  <a:pt x="1133087" y="1557819"/>
                </a:cubicBezTo>
                <a:cubicBezTo>
                  <a:pt x="1143118" y="1557819"/>
                  <a:pt x="1153149" y="1557819"/>
                  <a:pt x="1159835" y="1557819"/>
                </a:cubicBezTo>
                <a:cubicBezTo>
                  <a:pt x="1169866" y="1554332"/>
                  <a:pt x="1176553" y="1550844"/>
                  <a:pt x="1186583" y="1547358"/>
                </a:cubicBezTo>
                <a:cubicBezTo>
                  <a:pt x="1186583" y="1540383"/>
                  <a:pt x="1186583" y="1536897"/>
                  <a:pt x="1186583" y="1533410"/>
                </a:cubicBezTo>
                <a:cubicBezTo>
                  <a:pt x="1183240" y="1533410"/>
                  <a:pt x="1179897" y="1529922"/>
                  <a:pt x="1176553" y="1529922"/>
                </a:cubicBezTo>
                <a:cubicBezTo>
                  <a:pt x="1176553" y="1526436"/>
                  <a:pt x="1176553" y="1522949"/>
                  <a:pt x="1176553" y="1519461"/>
                </a:cubicBezTo>
                <a:cubicBezTo>
                  <a:pt x="1179897" y="1515975"/>
                  <a:pt x="1183240" y="1515975"/>
                  <a:pt x="1186583" y="1512488"/>
                </a:cubicBezTo>
                <a:cubicBezTo>
                  <a:pt x="1186583" y="1488080"/>
                  <a:pt x="1186583" y="1460183"/>
                  <a:pt x="1186583" y="1435775"/>
                </a:cubicBezTo>
                <a:cubicBezTo>
                  <a:pt x="1183240" y="1435775"/>
                  <a:pt x="1179897" y="1432287"/>
                  <a:pt x="1176553" y="1432287"/>
                </a:cubicBezTo>
                <a:cubicBezTo>
                  <a:pt x="1176553" y="1428801"/>
                  <a:pt x="1176553" y="1425314"/>
                  <a:pt x="1176553" y="1421826"/>
                </a:cubicBezTo>
                <a:cubicBezTo>
                  <a:pt x="1179897" y="1418340"/>
                  <a:pt x="1183240" y="1418340"/>
                  <a:pt x="1186583" y="1414853"/>
                </a:cubicBezTo>
                <a:lnTo>
                  <a:pt x="1193271" y="1407879"/>
                </a:lnTo>
                <a:lnTo>
                  <a:pt x="1193271" y="1393931"/>
                </a:lnTo>
                <a:cubicBezTo>
                  <a:pt x="1189927" y="1393931"/>
                  <a:pt x="1189927" y="1393931"/>
                  <a:pt x="1186583" y="1393931"/>
                </a:cubicBezTo>
                <a:cubicBezTo>
                  <a:pt x="1186583" y="1390443"/>
                  <a:pt x="1186583" y="1386957"/>
                  <a:pt x="1186583" y="1383470"/>
                </a:cubicBezTo>
                <a:cubicBezTo>
                  <a:pt x="1189927" y="1383470"/>
                  <a:pt x="1193271" y="1379982"/>
                  <a:pt x="1196614" y="1376496"/>
                </a:cubicBezTo>
                <a:cubicBezTo>
                  <a:pt x="1199957" y="1334652"/>
                  <a:pt x="1209988" y="1299783"/>
                  <a:pt x="1250110" y="1278861"/>
                </a:cubicBezTo>
                <a:cubicBezTo>
                  <a:pt x="1246767" y="1278861"/>
                  <a:pt x="1246767" y="1275374"/>
                  <a:pt x="1243423" y="1275374"/>
                </a:cubicBezTo>
                <a:cubicBezTo>
                  <a:pt x="1243423" y="1271886"/>
                  <a:pt x="1243423" y="1268400"/>
                  <a:pt x="1243423" y="1264913"/>
                </a:cubicBezTo>
                <a:cubicBezTo>
                  <a:pt x="1246767" y="1264913"/>
                  <a:pt x="1250110" y="1261425"/>
                  <a:pt x="1253453" y="1261425"/>
                </a:cubicBezTo>
                <a:cubicBezTo>
                  <a:pt x="1253453" y="1254452"/>
                  <a:pt x="1253453" y="1250964"/>
                  <a:pt x="1253453" y="1247478"/>
                </a:cubicBezTo>
                <a:cubicBezTo>
                  <a:pt x="1256797" y="1247478"/>
                  <a:pt x="1256797" y="1247478"/>
                  <a:pt x="1260141" y="1247478"/>
                </a:cubicBezTo>
                <a:cubicBezTo>
                  <a:pt x="1260141" y="1237017"/>
                  <a:pt x="1260141" y="1226556"/>
                  <a:pt x="1260141" y="1216095"/>
                </a:cubicBezTo>
                <a:cubicBezTo>
                  <a:pt x="1256797" y="1216095"/>
                  <a:pt x="1256797" y="1216095"/>
                  <a:pt x="1253453" y="1216095"/>
                </a:cubicBezTo>
                <a:cubicBezTo>
                  <a:pt x="1253453" y="1212608"/>
                  <a:pt x="1253453" y="1212608"/>
                  <a:pt x="1253453" y="1209122"/>
                </a:cubicBezTo>
                <a:lnTo>
                  <a:pt x="1260141" y="1205634"/>
                </a:lnTo>
                <a:cubicBezTo>
                  <a:pt x="1266827" y="1198661"/>
                  <a:pt x="1270171" y="1191686"/>
                  <a:pt x="1276858" y="1181225"/>
                </a:cubicBezTo>
                <a:cubicBezTo>
                  <a:pt x="1280201" y="1174251"/>
                  <a:pt x="1280201" y="1170765"/>
                  <a:pt x="1280201" y="1167278"/>
                </a:cubicBezTo>
                <a:cubicBezTo>
                  <a:pt x="1273515" y="1156817"/>
                  <a:pt x="1273515" y="1139382"/>
                  <a:pt x="1280201" y="1128921"/>
                </a:cubicBezTo>
                <a:cubicBezTo>
                  <a:pt x="1280203" y="1128917"/>
                  <a:pt x="1280225" y="1128848"/>
                  <a:pt x="1280620" y="1127613"/>
                </a:cubicBezTo>
                <a:lnTo>
                  <a:pt x="1283545" y="1118460"/>
                </a:lnTo>
                <a:cubicBezTo>
                  <a:pt x="1283547" y="1118465"/>
                  <a:pt x="1283569" y="1118534"/>
                  <a:pt x="1283963" y="1119768"/>
                </a:cubicBezTo>
                <a:lnTo>
                  <a:pt x="1286889" y="1128921"/>
                </a:lnTo>
                <a:cubicBezTo>
                  <a:pt x="1293575" y="1139382"/>
                  <a:pt x="1296919" y="1156817"/>
                  <a:pt x="1290232" y="1167278"/>
                </a:cubicBezTo>
                <a:cubicBezTo>
                  <a:pt x="1290232" y="1170765"/>
                  <a:pt x="1290232" y="1174251"/>
                  <a:pt x="1290232" y="1177739"/>
                </a:cubicBezTo>
                <a:cubicBezTo>
                  <a:pt x="1296919" y="1188200"/>
                  <a:pt x="1303606" y="1198661"/>
                  <a:pt x="1306951" y="1205634"/>
                </a:cubicBezTo>
                <a:cubicBezTo>
                  <a:pt x="1310295" y="1205634"/>
                  <a:pt x="1310295" y="1209122"/>
                  <a:pt x="1313638" y="1209122"/>
                </a:cubicBezTo>
                <a:cubicBezTo>
                  <a:pt x="1313638" y="1212608"/>
                  <a:pt x="1313638" y="1212608"/>
                  <a:pt x="1313638" y="1216095"/>
                </a:cubicBezTo>
                <a:cubicBezTo>
                  <a:pt x="1310295" y="1226556"/>
                  <a:pt x="1310295" y="1237017"/>
                  <a:pt x="1310295" y="1247478"/>
                </a:cubicBezTo>
                <a:cubicBezTo>
                  <a:pt x="1316981" y="1250964"/>
                  <a:pt x="1316981" y="1254452"/>
                  <a:pt x="1316981" y="1261425"/>
                </a:cubicBezTo>
                <a:lnTo>
                  <a:pt x="1323669" y="1264913"/>
                </a:lnTo>
                <a:cubicBezTo>
                  <a:pt x="1323669" y="1268400"/>
                  <a:pt x="1323669" y="1271886"/>
                  <a:pt x="1323669" y="1275374"/>
                </a:cubicBezTo>
                <a:cubicBezTo>
                  <a:pt x="1320325" y="1278861"/>
                  <a:pt x="1320325" y="1278861"/>
                  <a:pt x="1316981" y="1278861"/>
                </a:cubicBezTo>
                <a:cubicBezTo>
                  <a:pt x="1337042" y="1289322"/>
                  <a:pt x="1348745" y="1303270"/>
                  <a:pt x="1356268" y="1319833"/>
                </a:cubicBezTo>
                <a:lnTo>
                  <a:pt x="1369603" y="1373009"/>
                </a:lnTo>
                <a:lnTo>
                  <a:pt x="1417287" y="1373009"/>
                </a:lnTo>
                <a:lnTo>
                  <a:pt x="1417287" y="1329494"/>
                </a:lnTo>
                <a:lnTo>
                  <a:pt x="1409211" y="1329494"/>
                </a:lnTo>
                <a:cubicBezTo>
                  <a:pt x="1409211" y="1329459"/>
                  <a:pt x="1409211" y="1326621"/>
                  <a:pt x="1409211" y="1086294"/>
                </a:cubicBezTo>
                <a:cubicBezTo>
                  <a:pt x="1409228" y="1086294"/>
                  <a:pt x="1409934" y="1086294"/>
                  <a:pt x="1439612" y="1086294"/>
                </a:cubicBezTo>
                <a:cubicBezTo>
                  <a:pt x="1439618" y="1086285"/>
                  <a:pt x="1439673" y="1086162"/>
                  <a:pt x="1440372" y="1084673"/>
                </a:cubicBezTo>
                <a:lnTo>
                  <a:pt x="1445691" y="1073324"/>
                </a:lnTo>
                <a:cubicBezTo>
                  <a:pt x="1445705" y="1073325"/>
                  <a:pt x="1445874" y="1073352"/>
                  <a:pt x="1448352" y="1073729"/>
                </a:cubicBezTo>
                <a:lnTo>
                  <a:pt x="1466972" y="1076565"/>
                </a:lnTo>
                <a:cubicBezTo>
                  <a:pt x="1466976" y="1076580"/>
                  <a:pt x="1467033" y="1076732"/>
                  <a:pt x="1467732" y="1078593"/>
                </a:cubicBezTo>
                <a:lnTo>
                  <a:pt x="1473051" y="1092779"/>
                </a:lnTo>
                <a:cubicBezTo>
                  <a:pt x="1473072" y="1092780"/>
                  <a:pt x="1473966" y="1092855"/>
                  <a:pt x="1512572" y="1096022"/>
                </a:cubicBezTo>
                <a:cubicBezTo>
                  <a:pt x="1512572" y="1095992"/>
                  <a:pt x="1512572" y="1093697"/>
                  <a:pt x="1512572" y="911190"/>
                </a:cubicBezTo>
                <a:cubicBezTo>
                  <a:pt x="1512585" y="911190"/>
                  <a:pt x="1512764" y="911190"/>
                  <a:pt x="1515612" y="911190"/>
                </a:cubicBezTo>
                <a:lnTo>
                  <a:pt x="1536893" y="911190"/>
                </a:lnTo>
                <a:cubicBezTo>
                  <a:pt x="1536893" y="911157"/>
                  <a:pt x="1536893" y="908586"/>
                  <a:pt x="1536893" y="706902"/>
                </a:cubicBezTo>
                <a:cubicBezTo>
                  <a:pt x="1536905" y="706902"/>
                  <a:pt x="1537067" y="706902"/>
                  <a:pt x="1539552" y="706902"/>
                </a:cubicBezTo>
                <a:lnTo>
                  <a:pt x="1558173" y="706902"/>
                </a:lnTo>
                <a:cubicBezTo>
                  <a:pt x="1558173" y="706877"/>
                  <a:pt x="1558173" y="704768"/>
                  <a:pt x="1558173" y="535041"/>
                </a:cubicBezTo>
                <a:cubicBezTo>
                  <a:pt x="1564253" y="531798"/>
                  <a:pt x="1564253" y="531798"/>
                  <a:pt x="1564253" y="492885"/>
                </a:cubicBezTo>
                <a:cubicBezTo>
                  <a:pt x="1564263" y="492885"/>
                  <a:pt x="1564443" y="492885"/>
                  <a:pt x="1567293" y="492885"/>
                </a:cubicBezTo>
                <a:lnTo>
                  <a:pt x="1588574" y="492885"/>
                </a:lnTo>
                <a:cubicBezTo>
                  <a:pt x="1588590" y="492851"/>
                  <a:pt x="1589499" y="490800"/>
                  <a:pt x="1643294" y="369665"/>
                </a:cubicBezTo>
                <a:cubicBezTo>
                  <a:pt x="1643294" y="369644"/>
                  <a:pt x="1643345" y="366717"/>
                  <a:pt x="1649375" y="0"/>
                </a:cubicBezTo>
                <a:close/>
              </a:path>
            </a:pathLst>
          </a:custGeom>
          <a:solidFill>
            <a:srgbClr val="E0E0E0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6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41" name="Round Same Side Corner Rectangle 34">
            <a:extLst>
              <a:ext uri="{FF2B5EF4-FFF2-40B4-BE49-F238E27FC236}">
                <a16:creationId xmlns:a16="http://schemas.microsoft.com/office/drawing/2014/main" id="{70989BE4-F662-4A51-9E85-89D4F6BB246D}"/>
              </a:ext>
            </a:extLst>
          </p:cNvPr>
          <p:cNvSpPr>
            <a:spLocks/>
          </p:cNvSpPr>
          <p:nvPr/>
        </p:nvSpPr>
        <p:spPr>
          <a:xfrm>
            <a:off x="285750" y="759748"/>
            <a:ext cx="11476308" cy="2512365"/>
          </a:xfrm>
          <a:prstGeom prst="round2SameRect">
            <a:avLst>
              <a:gd name="adj1" fmla="val 9791"/>
              <a:gd name="adj2" fmla="val 7966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ound Same Side Corner Rectangle 34">
            <a:extLst>
              <a:ext uri="{FF2B5EF4-FFF2-40B4-BE49-F238E27FC236}">
                <a16:creationId xmlns:a16="http://schemas.microsoft.com/office/drawing/2014/main" id="{70989BE4-F662-4A51-9E85-89D4F6BB246D}"/>
              </a:ext>
            </a:extLst>
          </p:cNvPr>
          <p:cNvSpPr>
            <a:spLocks/>
          </p:cNvSpPr>
          <p:nvPr/>
        </p:nvSpPr>
        <p:spPr>
          <a:xfrm>
            <a:off x="235692" y="3784608"/>
            <a:ext cx="2630842" cy="2757932"/>
          </a:xfrm>
          <a:prstGeom prst="round2SameRect">
            <a:avLst>
              <a:gd name="adj1" fmla="val 8868"/>
              <a:gd name="adj2" fmla="val 11524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631106" y="6482198"/>
            <a:ext cx="560894" cy="32725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DF9FB2-F12B-454A-BE70-50CF973BED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1154003" y="1233266"/>
            <a:ext cx="2657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4800" b="1" dirty="0" smtClean="0">
                <a:solidFill>
                  <a:srgbClr val="BA3953"/>
                </a:solidFill>
                <a:latin typeface="Bahnschrift" panose="020B0502040204020203" pitchFamily="34" charset="0"/>
              </a:rPr>
              <a:t>90 чел.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BA3953"/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394800" y="186355"/>
            <a:ext cx="3595055" cy="44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6600" b="0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СТРУКТУРА ОПРОС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66" name="Заголовок 1"/>
          <p:cNvSpPr txBox="1">
            <a:spLocks/>
          </p:cNvSpPr>
          <p:nvPr/>
        </p:nvSpPr>
        <p:spPr>
          <a:xfrm>
            <a:off x="683590" y="4144018"/>
            <a:ext cx="275427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КТО ПРОХОДИЛ ОПРОС</a:t>
            </a:r>
            <a:r>
              <a:rPr lang="ru-RU" dirty="0"/>
              <a:t>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77" name="Заголовок 1"/>
          <p:cNvSpPr txBox="1">
            <a:spLocks/>
          </p:cNvSpPr>
          <p:nvPr/>
        </p:nvSpPr>
        <p:spPr>
          <a:xfrm>
            <a:off x="912573" y="856990"/>
            <a:ext cx="2687122" cy="44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6600" b="0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УЧАСТВОВАЛО ПОЛЬЗОВАТЕЛЕЙ В ОПРОСЕ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8" name="Round Same Side Corner Rectangle 34">
            <a:extLst>
              <a:ext uri="{FF2B5EF4-FFF2-40B4-BE49-F238E27FC236}">
                <a16:creationId xmlns:a16="http://schemas.microsoft.com/office/drawing/2014/main" id="{70989BE4-F662-4A51-9E85-89D4F6BB246D}"/>
              </a:ext>
            </a:extLst>
          </p:cNvPr>
          <p:cNvSpPr>
            <a:spLocks/>
          </p:cNvSpPr>
          <p:nvPr/>
        </p:nvSpPr>
        <p:spPr>
          <a:xfrm>
            <a:off x="3253240" y="3784608"/>
            <a:ext cx="3994227" cy="2757932"/>
          </a:xfrm>
          <a:prstGeom prst="round2SameRect">
            <a:avLst>
              <a:gd name="adj1" fmla="val 9791"/>
              <a:gd name="adj2" fmla="val 11923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Заголовок 1"/>
          <p:cNvSpPr txBox="1">
            <a:spLocks/>
          </p:cNvSpPr>
          <p:nvPr/>
        </p:nvSpPr>
        <p:spPr>
          <a:xfrm>
            <a:off x="3383051" y="3813793"/>
            <a:ext cx="2575588" cy="44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6600" b="0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ДЕТАЛИЗАЦИЯ ПО ФИЛИАЛА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840569" y="2289837"/>
            <a:ext cx="3470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В ОПРОСЕ УЧАСТВОВАЛО </a:t>
            </a:r>
            <a:r>
              <a:rPr lang="ru-RU" sz="14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67% 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ОТ СРЕДНЕ СУТОЧНОГО КОЛИЧЕСТВА ПОЛЬЗОВАТЕЛЕЙ ПО ПОТОКУ 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«РМ Аналитика»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graphicFrame>
        <p:nvGraphicFramePr>
          <p:cNvPr id="36" name="Chart 7">
            <a:extLst>
              <a:ext uri="{FF2B5EF4-FFF2-40B4-BE49-F238E27FC236}">
                <a16:creationId xmlns:a16="http://schemas.microsoft.com/office/drawing/2014/main" id="{D73977B2-5CE3-4865-8EFB-DB387585F7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3881130"/>
              </p:ext>
            </p:extLst>
          </p:nvPr>
        </p:nvGraphicFramePr>
        <p:xfrm>
          <a:off x="279385" y="4209084"/>
          <a:ext cx="2586056" cy="2404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3" name="Round Same Side Corner Rectangle 34">
            <a:extLst>
              <a:ext uri="{FF2B5EF4-FFF2-40B4-BE49-F238E27FC236}">
                <a16:creationId xmlns:a16="http://schemas.microsoft.com/office/drawing/2014/main" id="{70989BE4-F662-4A51-9E85-89D4F6BB246D}"/>
              </a:ext>
            </a:extLst>
          </p:cNvPr>
          <p:cNvSpPr>
            <a:spLocks/>
          </p:cNvSpPr>
          <p:nvPr/>
        </p:nvSpPr>
        <p:spPr>
          <a:xfrm>
            <a:off x="7569365" y="3784609"/>
            <a:ext cx="4192693" cy="2757932"/>
          </a:xfrm>
          <a:prstGeom prst="round2SameRect">
            <a:avLst>
              <a:gd name="adj1" fmla="val 9791"/>
              <a:gd name="adj2" fmla="val 11923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Заголовок 1"/>
          <p:cNvSpPr txBox="1">
            <a:spLocks/>
          </p:cNvSpPr>
          <p:nvPr/>
        </p:nvSpPr>
        <p:spPr>
          <a:xfrm>
            <a:off x="7650959" y="3770016"/>
            <a:ext cx="2575588" cy="44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6600" b="0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ДЕТАЛИЗАЦИЯ ПО БЛОКАМ Ц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graphicFrame>
        <p:nvGraphicFramePr>
          <p:cNvPr id="47" name="Диаграмма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0758124"/>
              </p:ext>
            </p:extLst>
          </p:nvPr>
        </p:nvGraphicFramePr>
        <p:xfrm>
          <a:off x="3437863" y="4110597"/>
          <a:ext cx="3586083" cy="2371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9" name="Диаграмма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7263505"/>
              </p:ext>
            </p:extLst>
          </p:nvPr>
        </p:nvGraphicFramePr>
        <p:xfrm>
          <a:off x="7650959" y="4142243"/>
          <a:ext cx="4058174" cy="2083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406092" y="593501"/>
            <a:ext cx="265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3600" b="1" noProof="0" dirty="0" smtClean="0">
                <a:solidFill>
                  <a:schemeClr val="bg1">
                    <a:lumMod val="85000"/>
                  </a:schemeClr>
                </a:solidFill>
                <a:latin typeface="Bahnschrift" panose="020B0502040204020203" pitchFamily="34" charset="0"/>
              </a:rPr>
              <a:t>01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5800628" y="593491"/>
            <a:ext cx="265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3600" b="1" dirty="0" smtClean="0">
                <a:solidFill>
                  <a:schemeClr val="bg1">
                    <a:lumMod val="85000"/>
                  </a:schemeClr>
                </a:solidFill>
                <a:latin typeface="Bahnschrift" panose="020B0502040204020203" pitchFamily="34" charset="0"/>
              </a:rPr>
              <a:t>02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253648" y="3608945"/>
            <a:ext cx="265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3600" b="1" dirty="0" smtClean="0">
                <a:solidFill>
                  <a:schemeClr val="bg1">
                    <a:lumMod val="85000"/>
                  </a:schemeClr>
                </a:solidFill>
                <a:latin typeface="Bahnschrift" panose="020B0502040204020203" pitchFamily="34" charset="0"/>
              </a:rPr>
              <a:t>03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6443120" y="860083"/>
            <a:ext cx="4004133" cy="44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R="0" lvl="0" indent="0" defTabSz="685800" fontAlgn="auto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6600" b="0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swald"/>
              <a:buNone/>
              <a:defRPr sz="2800" b="1" i="0" u="none" strike="noStrike" cap="none">
                <a:solidFill>
                  <a:schemeClr val="dk1"/>
                </a:solidFill>
                <a:latin typeface="Oswald"/>
                <a:ea typeface="Oswald"/>
                <a:cs typeface="Oswald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БОЛЬШЕ ТРЕТИ ОПРОШЕННЫХ ПОЛЬЗУЕТСЯ ТОЛЬКО ОТЧЕТНОСТЬЮ В ПОТОКЕ «РМ АНАЛИТИКА»: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6587529" y="1301619"/>
            <a:ext cx="2657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4800" b="1" dirty="0" smtClean="0">
                <a:solidFill>
                  <a:srgbClr val="BA3953"/>
                </a:solidFill>
                <a:latin typeface="Bahnschrift" panose="020B0502040204020203" pitchFamily="34" charset="0"/>
              </a:rPr>
              <a:t>37 % 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BA3953"/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6323085" y="2286306"/>
            <a:ext cx="458129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20% ПОЛЬЗОВАТЕЛЕЙ СООБЩИЛО, ЧТО ПОМИМО ОТЧЕТНОСТИ </a:t>
            </a:r>
            <a:r>
              <a:rPr lang="en-US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QLIK 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ИСПОЛЬЗУЕТ ДАННЫЕ ДРУГИХ СИСТЕМ (</a:t>
            </a:r>
            <a:r>
              <a:rPr lang="en-US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SAP, 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ССП, </a:t>
            </a:r>
            <a:r>
              <a:rPr lang="en-US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COGNOS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 </a:t>
            </a:r>
            <a:r>
              <a:rPr lang="en-US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BI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, ОТЧЕТНОСТЬ ОУ АУКЦ И ДР. ПРИЛОЖЕНИЯ В </a:t>
            </a:r>
            <a:r>
              <a:rPr lang="en-US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QLIK)</a:t>
            </a:r>
            <a:r>
              <a:rPr lang="ru-RU" sz="11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044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7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1" name="Прямоугольник 260">
            <a:extLst>
              <a:ext uri="{FF2B5EF4-FFF2-40B4-BE49-F238E27FC236}">
                <a16:creationId xmlns:a16="http://schemas.microsoft.com/office/drawing/2014/main" id="{D2EECCF1-9E43-41AC-9110-4CFB95D97751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ound Same Side Corner Rectangle 34"/>
          <p:cNvSpPr/>
          <p:nvPr/>
        </p:nvSpPr>
        <p:spPr>
          <a:xfrm rot="16200000">
            <a:off x="1264542" y="-446847"/>
            <a:ext cx="1645052" cy="3407285"/>
          </a:xfrm>
          <a:prstGeom prst="round2DiagRect">
            <a:avLst>
              <a:gd name="adj1" fmla="val 0"/>
              <a:gd name="adj2" fmla="val 21616"/>
            </a:avLst>
          </a:prstGeom>
          <a:solidFill>
            <a:srgbClr val="B43750"/>
          </a:solidFill>
          <a:ln>
            <a:noFill/>
          </a:ln>
          <a:effectLst>
            <a:outerShdw blurRad="368300" dist="635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63" name="Round Same Side Corner Rectangle 34"/>
          <p:cNvSpPr/>
          <p:nvPr/>
        </p:nvSpPr>
        <p:spPr>
          <a:xfrm rot="10800000">
            <a:off x="355578" y="2038620"/>
            <a:ext cx="3175925" cy="4416064"/>
          </a:xfrm>
          <a:prstGeom prst="round1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764946" y="859336"/>
            <a:ext cx="2425494" cy="1117317"/>
            <a:chOff x="-3226295" y="1216153"/>
            <a:chExt cx="2425494" cy="1117317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13662D4-2639-45B2-A1EB-7FF4B5C62D4E}"/>
                </a:ext>
              </a:extLst>
            </p:cNvPr>
            <p:cNvSpPr txBox="1"/>
            <p:nvPr/>
          </p:nvSpPr>
          <p:spPr>
            <a:xfrm>
              <a:off x="-2962152" y="1317807"/>
              <a:ext cx="1681891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SemiBold SemiConden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.32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 SemiBold SemiConden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з 5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-3226295" y="1216153"/>
              <a:ext cx="242549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 smtClean="0">
                  <a:solidFill>
                    <a:prstClr val="white"/>
                  </a:solidFill>
                  <a:latin typeface="Calibri" panose="020F0502020204030204"/>
                </a:rPr>
                <a:t>ОЦЕНКА </a:t>
              </a:r>
              <a:r>
                <a:rPr lang="ru-RU" sz="1200" dirty="0" smtClean="0">
                  <a:solidFill>
                    <a:prstClr val="white"/>
                  </a:solidFill>
                  <a:latin typeface="Calibri" panose="020F0502020204030204"/>
                </a:rPr>
                <a:t>УДОВЛЕТВОРЕННОСТИ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2E3A0CE-40E6-4B02-87B8-B1BD380AE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84477" y="647278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DF9FB2-F12B-454A-BE70-50CF973BED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527521" y="2214351"/>
            <a:ext cx="27416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Bahnschrift SemiBold SemiConden" panose="020B0502040204020203" pitchFamily="34" charset="0"/>
              </a:rPr>
              <a:t>48% ПОЛЬЗОВАТЕЛЕЙ ОЦЕНИЛИ ОТЧЕТНОСТЬ НА «ОТЛИЧНО»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: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Заголовок 1"/>
          <p:cNvSpPr txBox="1">
            <a:spLocks/>
          </p:cNvSpPr>
          <p:nvPr/>
        </p:nvSpPr>
        <p:spPr>
          <a:xfrm>
            <a:off x="547332" y="3498651"/>
            <a:ext cx="2226237" cy="7114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68" name="Заголовок 1"/>
          <p:cNvSpPr txBox="1">
            <a:spLocks/>
          </p:cNvSpPr>
          <p:nvPr/>
        </p:nvSpPr>
        <p:spPr>
          <a:xfrm>
            <a:off x="547332" y="5547971"/>
            <a:ext cx="2817516" cy="1493418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*Оцен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мог поставить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 только тот пользователь, кто указал, что пользуется отчетами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84" name="Заголовок 1"/>
          <p:cNvSpPr txBox="1">
            <a:spLocks/>
          </p:cNvSpPr>
          <p:nvPr/>
        </p:nvSpPr>
        <p:spPr>
          <a:xfrm>
            <a:off x="900720" y="5732212"/>
            <a:ext cx="2455484" cy="7412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62" name="Round Same Side Corner Rectangle 34"/>
          <p:cNvSpPr/>
          <p:nvPr/>
        </p:nvSpPr>
        <p:spPr>
          <a:xfrm>
            <a:off x="3384491" y="406420"/>
            <a:ext cx="8361393" cy="6066362"/>
          </a:xfrm>
          <a:prstGeom prst="round2SameRect">
            <a:avLst>
              <a:gd name="adj1" fmla="val 711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4" name="TextBox 21"/>
          <p:cNvSpPr txBox="1">
            <a:spLocks noChangeArrowheads="1"/>
          </p:cNvSpPr>
          <p:nvPr/>
        </p:nvSpPr>
        <p:spPr bwMode="auto">
          <a:xfrm>
            <a:off x="3772594" y="793549"/>
            <a:ext cx="8336966" cy="274139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indent="0" defTabSz="685800">
              <a:lnSpc>
                <a:spcPct val="8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500" noProof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</a:rPr>
              <a:t>НАСКОЛЬКО ЧАСТО ПОЛЬЗОВАТЕЛИ ИСПОЛЬЗУЮТ ОТЧЕТНОСТЬ </a:t>
            </a:r>
            <a:r>
              <a:rPr lang="en-US" sz="1500" noProof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</a:rPr>
              <a:t>QLIK </a:t>
            </a:r>
            <a:r>
              <a:rPr lang="ru-RU" sz="1500" noProof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</a:rPr>
              <a:t>В ПОТОКЕ «РМ Аналитика»?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Bahnschrift SemiBold SemiConden" panose="020B0502040204020203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523859" y="4130936"/>
            <a:ext cx="7975636" cy="88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3504831" y="6158053"/>
            <a:ext cx="7994664" cy="6549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3512476" y="1239346"/>
            <a:ext cx="8087831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21"/>
          <p:cNvSpPr txBox="1">
            <a:spLocks noChangeArrowheads="1"/>
          </p:cNvSpPr>
          <p:nvPr/>
        </p:nvSpPr>
        <p:spPr bwMode="auto">
          <a:xfrm>
            <a:off x="3674790" y="4421900"/>
            <a:ext cx="6677117" cy="274139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indent="0" defTabSz="685800">
              <a:lnSpc>
                <a:spcPct val="8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75" name="TextBox 21"/>
          <p:cNvSpPr txBox="1">
            <a:spLocks noChangeArrowheads="1"/>
          </p:cNvSpPr>
          <p:nvPr/>
        </p:nvSpPr>
        <p:spPr bwMode="auto">
          <a:xfrm>
            <a:off x="3745128" y="4319892"/>
            <a:ext cx="6677117" cy="274139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indent="0" defTabSz="685800">
              <a:lnSpc>
                <a:spcPct val="8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9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Bahnschrift SemiBold SemiConden" panose="020B0502040204020203" pitchFamily="34" charset="0"/>
            </a:endParaRPr>
          </a:p>
        </p:txBody>
      </p:sp>
      <p:sp>
        <p:nvSpPr>
          <p:cNvPr id="79" name="Заголовок 1"/>
          <p:cNvSpPr txBox="1">
            <a:spLocks/>
          </p:cNvSpPr>
          <p:nvPr/>
        </p:nvSpPr>
        <p:spPr>
          <a:xfrm>
            <a:off x="4338604" y="5576455"/>
            <a:ext cx="3176801" cy="23560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Основные причины</a:t>
            </a:r>
            <a:r>
              <a:rPr lang="ru-RU" sz="1000" noProof="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 почему не пользуются</a:t>
            </a:r>
            <a:r>
              <a:rPr lang="ru-RU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: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80" name="Прямоугольник 79"/>
          <p:cNvSpPr>
            <a:spLocks noChangeAspect="1"/>
          </p:cNvSpPr>
          <p:nvPr/>
        </p:nvSpPr>
        <p:spPr>
          <a:xfrm>
            <a:off x="7223156" y="4029218"/>
            <a:ext cx="1624418" cy="77022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571500" marR="0" lvl="0" indent="-57150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6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Bahnschrift SemiBold SemiConden" panose="020B0502040204020203" pitchFamily="34" charset="0"/>
              </a:rPr>
              <a:t>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95" name="Заголовок 1"/>
          <p:cNvSpPr txBox="1">
            <a:spLocks/>
          </p:cNvSpPr>
          <p:nvPr/>
        </p:nvSpPr>
        <p:spPr>
          <a:xfrm>
            <a:off x="8123787" y="4243027"/>
            <a:ext cx="3176801" cy="39870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Не вижу пользы в работе  (беру данные из других систем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96" name="Прямоугольник 95"/>
          <p:cNvSpPr>
            <a:spLocks noChangeAspect="1"/>
          </p:cNvSpPr>
          <p:nvPr/>
        </p:nvSpPr>
        <p:spPr>
          <a:xfrm>
            <a:off x="7218137" y="4514484"/>
            <a:ext cx="1624418" cy="77022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571500" marR="0" lvl="0" indent="-57150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6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Bahnschrift SemiBold SemiConden" panose="020B0502040204020203" pitchFamily="34" charset="0"/>
              </a:rPr>
              <a:t>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97" name="Заголовок 1"/>
          <p:cNvSpPr txBox="1">
            <a:spLocks/>
          </p:cNvSpPr>
          <p:nvPr/>
        </p:nvSpPr>
        <p:spPr>
          <a:xfrm>
            <a:off x="8118768" y="4728293"/>
            <a:ext cx="3176801" cy="39870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Не хватает простого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обучения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100" name="Прямоугольник 99"/>
          <p:cNvSpPr>
            <a:spLocks noChangeAspect="1"/>
          </p:cNvSpPr>
          <p:nvPr/>
        </p:nvSpPr>
        <p:spPr>
          <a:xfrm>
            <a:off x="7220646" y="5006340"/>
            <a:ext cx="1624418" cy="77022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571500" marR="0" lvl="0" indent="-57150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6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Bahnschrift SemiBold SemiConden" panose="020B0502040204020203" pitchFamily="34" charset="0"/>
              </a:rPr>
              <a:t>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101" name="Заголовок 1"/>
          <p:cNvSpPr txBox="1">
            <a:spLocks/>
          </p:cNvSpPr>
          <p:nvPr/>
        </p:nvSpPr>
        <p:spPr>
          <a:xfrm>
            <a:off x="8121277" y="5220149"/>
            <a:ext cx="3176801" cy="39870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Не знаю о таких потоках/отчетах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Qlik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102" name="Прямоугольник 101"/>
          <p:cNvSpPr>
            <a:spLocks noChangeAspect="1"/>
          </p:cNvSpPr>
          <p:nvPr/>
        </p:nvSpPr>
        <p:spPr>
          <a:xfrm>
            <a:off x="7218137" y="5511063"/>
            <a:ext cx="1624418" cy="77022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571500" marR="0" lvl="0" indent="-57150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36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Bahnschrift SemiBold SemiConden" panose="020B0502040204020203" pitchFamily="34" charset="0"/>
              </a:rPr>
              <a:t>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103" name="Заголовок 1"/>
          <p:cNvSpPr txBox="1">
            <a:spLocks/>
          </p:cNvSpPr>
          <p:nvPr/>
        </p:nvSpPr>
        <p:spPr>
          <a:xfrm>
            <a:off x="8118768" y="5724872"/>
            <a:ext cx="3176801" cy="398702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>
                <a:solidFill>
                  <a:schemeClr val="tx1"/>
                </a:solidFill>
                <a:latin typeface="Bahnschrift Light" panose="020B0502040204020203" pitchFamily="34" charset="0"/>
              </a:rPr>
              <a:t>Не знаю куда там смотреть (не хватает легенд, единиц измерения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9625728"/>
              </p:ext>
            </p:extLst>
          </p:nvPr>
        </p:nvGraphicFramePr>
        <p:xfrm>
          <a:off x="539615" y="2763287"/>
          <a:ext cx="356072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5" name="Заголовок 1"/>
          <p:cNvSpPr txBox="1">
            <a:spLocks/>
          </p:cNvSpPr>
          <p:nvPr/>
        </p:nvSpPr>
        <p:spPr>
          <a:xfrm>
            <a:off x="3677662" y="2664045"/>
            <a:ext cx="3176801" cy="1011136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40% опрошенных использует отчеты в потоках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 </a:t>
            </a:r>
            <a:r>
              <a:rPr lang="ru-RU" sz="1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Bahnschrift Light" panose="020B0502040204020203" pitchFamily="34" charset="0"/>
              </a:rPr>
              <a:t>РМ «Аналитика» 1-2 раза в неделю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Основной пик использования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Bahnschrift Light" panose="020B0502040204020203" pitchFamily="34" charset="0"/>
              </a:rPr>
              <a:t> отчетов – понедельник и четверг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graphicFrame>
        <p:nvGraphicFramePr>
          <p:cNvPr id="106" name="Диаграмма 1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4805696"/>
              </p:ext>
            </p:extLst>
          </p:nvPr>
        </p:nvGraphicFramePr>
        <p:xfrm>
          <a:off x="6926107" y="13200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3600716" y="231417"/>
            <a:ext cx="265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3600" b="1" dirty="0" smtClean="0">
                <a:solidFill>
                  <a:schemeClr val="bg1">
                    <a:lumMod val="85000"/>
                  </a:schemeClr>
                </a:solidFill>
                <a:latin typeface="Bahnschrift" panose="020B0502040204020203" pitchFamily="34" charset="0"/>
              </a:rPr>
              <a:t>05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35586" y="1377190"/>
            <a:ext cx="360535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800" b="1" dirty="0" smtClean="0">
                <a:solidFill>
                  <a:schemeClr val="bg1">
                    <a:lumMod val="75000"/>
                  </a:schemeClr>
                </a:solidFill>
                <a:latin typeface="Bahnschrift" panose="020B0502040204020203" pitchFamily="34" charset="0"/>
              </a:rPr>
              <a:t>56% </a:t>
            </a:r>
            <a:r>
              <a:rPr lang="ru-RU" sz="2000" b="1" dirty="0" smtClean="0">
                <a:solidFill>
                  <a:schemeClr val="bg1">
                    <a:lumMod val="75000"/>
                  </a:schemeClr>
                </a:solidFill>
                <a:latin typeface="Bahnschrift" panose="020B0502040204020203" pitchFamily="34" charset="0"/>
              </a:rPr>
              <a:t>опрошенных пользуются отчетами каждый день</a:t>
            </a:r>
            <a:endParaRPr lang="ru-RU" sz="2000" b="1" dirty="0">
              <a:solidFill>
                <a:schemeClr val="bg1">
                  <a:lumMod val="7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00440" y="4105557"/>
            <a:ext cx="360535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800" b="1" dirty="0" smtClean="0">
                <a:solidFill>
                  <a:schemeClr val="bg1">
                    <a:lumMod val="75000"/>
                  </a:schemeClr>
                </a:solidFill>
                <a:latin typeface="Bahnschrift" panose="020B0502040204020203" pitchFamily="34" charset="0"/>
              </a:rPr>
              <a:t>8% </a:t>
            </a:r>
            <a:r>
              <a:rPr lang="ru-RU" sz="2000" b="1" dirty="0" smtClean="0">
                <a:solidFill>
                  <a:schemeClr val="bg1">
                    <a:lumMod val="75000"/>
                  </a:schemeClr>
                </a:solidFill>
                <a:latin typeface="Bahnschrift" panose="020B0502040204020203" pitchFamily="34" charset="0"/>
              </a:rPr>
              <a:t>опрошенных не пользуются отчетами в потоке «РМ Аналитика»</a:t>
            </a:r>
            <a:endParaRPr lang="ru-RU" sz="2000" b="1" dirty="0">
              <a:solidFill>
                <a:schemeClr val="bg1">
                  <a:lumMod val="7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98BA96-D1B5-4DA4-8488-8F560653D597}"/>
              </a:ext>
            </a:extLst>
          </p:cNvPr>
          <p:cNvSpPr txBox="1"/>
          <p:nvPr/>
        </p:nvSpPr>
        <p:spPr>
          <a:xfrm>
            <a:off x="496637" y="274725"/>
            <a:ext cx="265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kumimoji="0" sz="2000" b="0" i="0" u="none" strike="noStrike" cap="none" spc="0" normalizeH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3600" b="1" dirty="0" smtClean="0">
                <a:solidFill>
                  <a:schemeClr val="bg1"/>
                </a:solidFill>
                <a:latin typeface="Bahnschrift" panose="020B0502040204020203" pitchFamily="34" charset="0"/>
              </a:rPr>
              <a:t>04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63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6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1" name="Прямоугольник 260">
            <a:extLst>
              <a:ext uri="{FF2B5EF4-FFF2-40B4-BE49-F238E27FC236}">
                <a16:creationId xmlns:a16="http://schemas.microsoft.com/office/drawing/2014/main" id="{D2EECCF1-9E43-41AC-9110-4CFB95D97751}"/>
              </a:ext>
            </a:extLst>
          </p:cNvPr>
          <p:cNvSpPr>
            <a:spLocks noChangeAspect="1"/>
          </p:cNvSpPr>
          <p:nvPr/>
        </p:nvSpPr>
        <p:spPr>
          <a:xfrm>
            <a:off x="0" y="1"/>
            <a:ext cx="12192000" cy="6858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2" name="Round Same Side Corner Rectangle 34"/>
          <p:cNvSpPr/>
          <p:nvPr/>
        </p:nvSpPr>
        <p:spPr>
          <a:xfrm>
            <a:off x="260377" y="605235"/>
            <a:ext cx="11417968" cy="5947705"/>
          </a:xfrm>
          <a:prstGeom prst="round2SameRect">
            <a:avLst>
              <a:gd name="adj1" fmla="val 7110"/>
              <a:gd name="adj2" fmla="val 5607"/>
            </a:avLst>
          </a:prstGeom>
          <a:solidFill>
            <a:schemeClr val="bg1"/>
          </a:solidFill>
          <a:ln>
            <a:noFill/>
          </a:ln>
          <a:effectLst>
            <a:outerShdw blurRad="368300" dist="635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EC71F81-E17B-4E2C-8361-75D674F1B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55971" y="645353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12613F-D2F9-480A-A018-275E2DE308E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5"/>
          <p:cNvGrpSpPr>
            <a:grpSpLocks noChangeAspect="1"/>
          </p:cNvGrpSpPr>
          <p:nvPr/>
        </p:nvGrpSpPr>
        <p:grpSpPr bwMode="auto">
          <a:xfrm>
            <a:off x="8535988" y="93617"/>
            <a:ext cx="3456593" cy="3520954"/>
            <a:chOff x="2014" y="300"/>
            <a:chExt cx="3652" cy="3720"/>
          </a:xfrm>
        </p:grpSpPr>
        <p:sp>
          <p:nvSpPr>
            <p:cNvPr id="13" name="AutoShape 4"/>
            <p:cNvSpPr>
              <a:spLocks noChangeAspect="1" noChangeArrowheads="1" noTextEdit="1"/>
            </p:cNvSpPr>
            <p:nvPr/>
          </p:nvSpPr>
          <p:spPr bwMode="auto">
            <a:xfrm>
              <a:off x="2014" y="300"/>
              <a:ext cx="3652" cy="3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4" name="Group 206"/>
            <p:cNvGrpSpPr>
              <a:grpSpLocks/>
            </p:cNvGrpSpPr>
            <p:nvPr/>
          </p:nvGrpSpPr>
          <p:grpSpPr bwMode="auto">
            <a:xfrm>
              <a:off x="1834" y="300"/>
              <a:ext cx="3999" cy="3815"/>
              <a:chOff x="1834" y="300"/>
              <a:chExt cx="3999" cy="3815"/>
            </a:xfrm>
          </p:grpSpPr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1834" y="1801"/>
                <a:ext cx="3999" cy="2314"/>
              </a:xfrm>
              <a:custGeom>
                <a:avLst/>
                <a:gdLst>
                  <a:gd name="T0" fmla="*/ 6835 w 8327"/>
                  <a:gd name="T1" fmla="*/ 858 h 4819"/>
                  <a:gd name="T2" fmla="*/ 6852 w 8327"/>
                  <a:gd name="T3" fmla="*/ 3962 h 4819"/>
                  <a:gd name="T4" fmla="*/ 1493 w 8327"/>
                  <a:gd name="T5" fmla="*/ 3962 h 4819"/>
                  <a:gd name="T6" fmla="*/ 1475 w 8327"/>
                  <a:gd name="T7" fmla="*/ 858 h 4819"/>
                  <a:gd name="T8" fmla="*/ 6835 w 8327"/>
                  <a:gd name="T9" fmla="*/ 858 h 4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27" h="4819">
                    <a:moveTo>
                      <a:pt x="6835" y="858"/>
                    </a:moveTo>
                    <a:cubicBezTo>
                      <a:pt x="8319" y="1715"/>
                      <a:pt x="8327" y="3105"/>
                      <a:pt x="6852" y="3962"/>
                    </a:cubicBezTo>
                    <a:cubicBezTo>
                      <a:pt x="5377" y="4819"/>
                      <a:pt x="2978" y="4819"/>
                      <a:pt x="1493" y="3962"/>
                    </a:cubicBezTo>
                    <a:cubicBezTo>
                      <a:pt x="8" y="3105"/>
                      <a:pt x="0" y="1715"/>
                      <a:pt x="1475" y="858"/>
                    </a:cubicBezTo>
                    <a:cubicBezTo>
                      <a:pt x="2950" y="0"/>
                      <a:pt x="5350" y="0"/>
                      <a:pt x="6835" y="85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2123" y="1966"/>
                <a:ext cx="1471" cy="861"/>
              </a:xfrm>
              <a:custGeom>
                <a:avLst/>
                <a:gdLst>
                  <a:gd name="T0" fmla="*/ 3030 w 3064"/>
                  <a:gd name="T1" fmla="*/ 117 h 1792"/>
                  <a:gd name="T2" fmla="*/ 2864 w 3064"/>
                  <a:gd name="T3" fmla="*/ 21 h 1792"/>
                  <a:gd name="T4" fmla="*/ 2747 w 3064"/>
                  <a:gd name="T5" fmla="*/ 21 h 1792"/>
                  <a:gd name="T6" fmla="*/ 1619 w 3064"/>
                  <a:gd name="T7" fmla="*/ 672 h 1792"/>
                  <a:gd name="T8" fmla="*/ 955 w 3064"/>
                  <a:gd name="T9" fmla="*/ 777 h 1792"/>
                  <a:gd name="T10" fmla="*/ 775 w 3064"/>
                  <a:gd name="T11" fmla="*/ 1160 h 1792"/>
                  <a:gd name="T12" fmla="*/ 33 w 3064"/>
                  <a:gd name="T13" fmla="*/ 1588 h 1792"/>
                  <a:gd name="T14" fmla="*/ 33 w 3064"/>
                  <a:gd name="T15" fmla="*/ 1675 h 1792"/>
                  <a:gd name="T16" fmla="*/ 199 w 3064"/>
                  <a:gd name="T17" fmla="*/ 1771 h 1792"/>
                  <a:gd name="T18" fmla="*/ 316 w 3064"/>
                  <a:gd name="T19" fmla="*/ 1771 h 1792"/>
                  <a:gd name="T20" fmla="*/ 1007 w 3064"/>
                  <a:gd name="T21" fmla="*/ 1371 h 1792"/>
                  <a:gd name="T22" fmla="*/ 1940 w 3064"/>
                  <a:gd name="T23" fmla="*/ 1346 h 1792"/>
                  <a:gd name="T24" fmla="*/ 1984 w 3064"/>
                  <a:gd name="T25" fmla="*/ 807 h 1792"/>
                  <a:gd name="T26" fmla="*/ 3030 w 3064"/>
                  <a:gd name="T27" fmla="*/ 204 h 1792"/>
                  <a:gd name="T28" fmla="*/ 3030 w 3064"/>
                  <a:gd name="T29" fmla="*/ 117 h 1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64" h="1792">
                    <a:moveTo>
                      <a:pt x="3030" y="117"/>
                    </a:moveTo>
                    <a:lnTo>
                      <a:pt x="2864" y="21"/>
                    </a:lnTo>
                    <a:cubicBezTo>
                      <a:pt x="2828" y="0"/>
                      <a:pt x="2783" y="0"/>
                      <a:pt x="2747" y="21"/>
                    </a:cubicBezTo>
                    <a:lnTo>
                      <a:pt x="1619" y="672"/>
                    </a:lnTo>
                    <a:cubicBezTo>
                      <a:pt x="1388" y="638"/>
                      <a:pt x="1135" y="673"/>
                      <a:pt x="955" y="777"/>
                    </a:cubicBezTo>
                    <a:cubicBezTo>
                      <a:pt x="777" y="881"/>
                      <a:pt x="717" y="1027"/>
                      <a:pt x="775" y="1160"/>
                    </a:cubicBezTo>
                    <a:lnTo>
                      <a:pt x="33" y="1588"/>
                    </a:lnTo>
                    <a:cubicBezTo>
                      <a:pt x="0" y="1607"/>
                      <a:pt x="0" y="1655"/>
                      <a:pt x="33" y="1675"/>
                    </a:cubicBezTo>
                    <a:lnTo>
                      <a:pt x="199" y="1771"/>
                    </a:lnTo>
                    <a:cubicBezTo>
                      <a:pt x="235" y="1792"/>
                      <a:pt x="280" y="1792"/>
                      <a:pt x="316" y="1771"/>
                    </a:cubicBezTo>
                    <a:lnTo>
                      <a:pt x="1007" y="1371"/>
                    </a:lnTo>
                    <a:cubicBezTo>
                      <a:pt x="1281" y="1502"/>
                      <a:pt x="1686" y="1494"/>
                      <a:pt x="1940" y="1346"/>
                    </a:cubicBezTo>
                    <a:cubicBezTo>
                      <a:pt x="2194" y="1199"/>
                      <a:pt x="2208" y="965"/>
                      <a:pt x="1984" y="807"/>
                    </a:cubicBezTo>
                    <a:lnTo>
                      <a:pt x="3030" y="204"/>
                    </a:lnTo>
                    <a:cubicBezTo>
                      <a:pt x="3064" y="184"/>
                      <a:pt x="3064" y="136"/>
                      <a:pt x="3030" y="1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3636" y="2237"/>
                <a:ext cx="733" cy="424"/>
              </a:xfrm>
              <a:custGeom>
                <a:avLst/>
                <a:gdLst>
                  <a:gd name="T0" fmla="*/ 1252 w 1526"/>
                  <a:gd name="T1" fmla="*/ 157 h 883"/>
                  <a:gd name="T2" fmla="*/ 1256 w 1526"/>
                  <a:gd name="T3" fmla="*/ 726 h 883"/>
                  <a:gd name="T4" fmla="*/ 274 w 1526"/>
                  <a:gd name="T5" fmla="*/ 726 h 883"/>
                  <a:gd name="T6" fmla="*/ 271 w 1526"/>
                  <a:gd name="T7" fmla="*/ 157 h 883"/>
                  <a:gd name="T8" fmla="*/ 1252 w 1526"/>
                  <a:gd name="T9" fmla="*/ 157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6" h="883">
                    <a:moveTo>
                      <a:pt x="1252" y="157"/>
                    </a:moveTo>
                    <a:cubicBezTo>
                      <a:pt x="1524" y="314"/>
                      <a:pt x="1526" y="569"/>
                      <a:pt x="1256" y="726"/>
                    </a:cubicBezTo>
                    <a:cubicBezTo>
                      <a:pt x="985" y="883"/>
                      <a:pt x="546" y="883"/>
                      <a:pt x="274" y="726"/>
                    </a:cubicBezTo>
                    <a:cubicBezTo>
                      <a:pt x="2" y="569"/>
                      <a:pt x="0" y="314"/>
                      <a:pt x="271" y="157"/>
                    </a:cubicBezTo>
                    <a:cubicBezTo>
                      <a:pt x="541" y="0"/>
                      <a:pt x="980" y="0"/>
                      <a:pt x="1252" y="157"/>
                    </a:cubicBezTo>
                    <a:close/>
                  </a:path>
                </a:pathLst>
              </a:custGeom>
              <a:solidFill>
                <a:srgbClr val="DBDC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9"/>
              <p:cNvSpPr>
                <a:spLocks/>
              </p:cNvSpPr>
              <p:nvPr/>
            </p:nvSpPr>
            <p:spPr bwMode="auto">
              <a:xfrm>
                <a:off x="4602" y="2648"/>
                <a:ext cx="732" cy="423"/>
              </a:xfrm>
              <a:custGeom>
                <a:avLst/>
                <a:gdLst>
                  <a:gd name="T0" fmla="*/ 1252 w 1526"/>
                  <a:gd name="T1" fmla="*/ 157 h 882"/>
                  <a:gd name="T2" fmla="*/ 1256 w 1526"/>
                  <a:gd name="T3" fmla="*/ 725 h 882"/>
                  <a:gd name="T4" fmla="*/ 274 w 1526"/>
                  <a:gd name="T5" fmla="*/ 725 h 882"/>
                  <a:gd name="T6" fmla="*/ 271 w 1526"/>
                  <a:gd name="T7" fmla="*/ 157 h 882"/>
                  <a:gd name="T8" fmla="*/ 1252 w 1526"/>
                  <a:gd name="T9" fmla="*/ 157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6" h="882">
                    <a:moveTo>
                      <a:pt x="1252" y="157"/>
                    </a:moveTo>
                    <a:cubicBezTo>
                      <a:pt x="1524" y="314"/>
                      <a:pt x="1526" y="568"/>
                      <a:pt x="1256" y="725"/>
                    </a:cubicBezTo>
                    <a:cubicBezTo>
                      <a:pt x="985" y="882"/>
                      <a:pt x="546" y="882"/>
                      <a:pt x="274" y="725"/>
                    </a:cubicBezTo>
                    <a:cubicBezTo>
                      <a:pt x="2" y="568"/>
                      <a:pt x="0" y="314"/>
                      <a:pt x="271" y="157"/>
                    </a:cubicBezTo>
                    <a:cubicBezTo>
                      <a:pt x="541" y="0"/>
                      <a:pt x="980" y="0"/>
                      <a:pt x="1252" y="1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10"/>
              <p:cNvSpPr>
                <a:spLocks/>
              </p:cNvSpPr>
              <p:nvPr/>
            </p:nvSpPr>
            <p:spPr bwMode="auto">
              <a:xfrm>
                <a:off x="2767" y="3201"/>
                <a:ext cx="733" cy="424"/>
              </a:xfrm>
              <a:custGeom>
                <a:avLst/>
                <a:gdLst>
                  <a:gd name="T0" fmla="*/ 1251 w 1525"/>
                  <a:gd name="T1" fmla="*/ 157 h 883"/>
                  <a:gd name="T2" fmla="*/ 1255 w 1525"/>
                  <a:gd name="T3" fmla="*/ 726 h 883"/>
                  <a:gd name="T4" fmla="*/ 273 w 1525"/>
                  <a:gd name="T5" fmla="*/ 726 h 883"/>
                  <a:gd name="T6" fmla="*/ 270 w 1525"/>
                  <a:gd name="T7" fmla="*/ 157 h 883"/>
                  <a:gd name="T8" fmla="*/ 1251 w 1525"/>
                  <a:gd name="T9" fmla="*/ 157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5" h="883">
                    <a:moveTo>
                      <a:pt x="1251" y="157"/>
                    </a:moveTo>
                    <a:cubicBezTo>
                      <a:pt x="1523" y="314"/>
                      <a:pt x="1525" y="569"/>
                      <a:pt x="1255" y="726"/>
                    </a:cubicBezTo>
                    <a:cubicBezTo>
                      <a:pt x="984" y="883"/>
                      <a:pt x="545" y="883"/>
                      <a:pt x="273" y="726"/>
                    </a:cubicBezTo>
                    <a:cubicBezTo>
                      <a:pt x="1" y="569"/>
                      <a:pt x="0" y="314"/>
                      <a:pt x="270" y="157"/>
                    </a:cubicBezTo>
                    <a:cubicBezTo>
                      <a:pt x="540" y="0"/>
                      <a:pt x="979" y="0"/>
                      <a:pt x="1251" y="15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11"/>
              <p:cNvSpPr>
                <a:spLocks/>
              </p:cNvSpPr>
              <p:nvPr/>
            </p:nvSpPr>
            <p:spPr bwMode="auto">
              <a:xfrm>
                <a:off x="3745" y="3476"/>
                <a:ext cx="398" cy="325"/>
              </a:xfrm>
              <a:custGeom>
                <a:avLst/>
                <a:gdLst>
                  <a:gd name="T0" fmla="*/ 190 w 827"/>
                  <a:gd name="T1" fmla="*/ 584 h 676"/>
                  <a:gd name="T2" fmla="*/ 117 w 827"/>
                  <a:gd name="T3" fmla="*/ 0 h 676"/>
                  <a:gd name="T4" fmla="*/ 710 w 827"/>
                  <a:gd name="T5" fmla="*/ 0 h 676"/>
                  <a:gd name="T6" fmla="*/ 637 w 827"/>
                  <a:gd name="T7" fmla="*/ 584 h 676"/>
                  <a:gd name="T8" fmla="*/ 634 w 827"/>
                  <a:gd name="T9" fmla="*/ 587 h 676"/>
                  <a:gd name="T10" fmla="*/ 630 w 827"/>
                  <a:gd name="T11" fmla="*/ 591 h 676"/>
                  <a:gd name="T12" fmla="*/ 619 w 827"/>
                  <a:gd name="T13" fmla="*/ 601 h 676"/>
                  <a:gd name="T14" fmla="*/ 616 w 827"/>
                  <a:gd name="T15" fmla="*/ 603 h 676"/>
                  <a:gd name="T16" fmla="*/ 607 w 827"/>
                  <a:gd name="T17" fmla="*/ 610 h 676"/>
                  <a:gd name="T18" fmla="*/ 592 w 827"/>
                  <a:gd name="T19" fmla="*/ 620 h 676"/>
                  <a:gd name="T20" fmla="*/ 235 w 827"/>
                  <a:gd name="T21" fmla="*/ 620 h 676"/>
                  <a:gd name="T22" fmla="*/ 220 w 827"/>
                  <a:gd name="T23" fmla="*/ 610 h 676"/>
                  <a:gd name="T24" fmla="*/ 211 w 827"/>
                  <a:gd name="T25" fmla="*/ 603 h 676"/>
                  <a:gd name="T26" fmla="*/ 208 w 827"/>
                  <a:gd name="T27" fmla="*/ 601 h 676"/>
                  <a:gd name="T28" fmla="*/ 198 w 827"/>
                  <a:gd name="T29" fmla="*/ 591 h 676"/>
                  <a:gd name="T30" fmla="*/ 193 w 827"/>
                  <a:gd name="T31" fmla="*/ 586 h 676"/>
                  <a:gd name="T32" fmla="*/ 190 w 827"/>
                  <a:gd name="T33" fmla="*/ 584 h 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7" h="676">
                    <a:moveTo>
                      <a:pt x="190" y="584"/>
                    </a:moveTo>
                    <a:cubicBezTo>
                      <a:pt x="70" y="462"/>
                      <a:pt x="0" y="98"/>
                      <a:pt x="117" y="0"/>
                    </a:cubicBezTo>
                    <a:lnTo>
                      <a:pt x="710" y="0"/>
                    </a:lnTo>
                    <a:cubicBezTo>
                      <a:pt x="827" y="98"/>
                      <a:pt x="756" y="461"/>
                      <a:pt x="637" y="584"/>
                    </a:cubicBezTo>
                    <a:lnTo>
                      <a:pt x="634" y="587"/>
                    </a:lnTo>
                    <a:lnTo>
                      <a:pt x="630" y="591"/>
                    </a:lnTo>
                    <a:cubicBezTo>
                      <a:pt x="626" y="594"/>
                      <a:pt x="623" y="597"/>
                      <a:pt x="619" y="601"/>
                    </a:cubicBezTo>
                    <a:lnTo>
                      <a:pt x="616" y="603"/>
                    </a:lnTo>
                    <a:cubicBezTo>
                      <a:pt x="613" y="605"/>
                      <a:pt x="610" y="607"/>
                      <a:pt x="607" y="610"/>
                    </a:cubicBezTo>
                    <a:cubicBezTo>
                      <a:pt x="604" y="612"/>
                      <a:pt x="597" y="617"/>
                      <a:pt x="592" y="620"/>
                    </a:cubicBezTo>
                    <a:cubicBezTo>
                      <a:pt x="493" y="676"/>
                      <a:pt x="334" y="676"/>
                      <a:pt x="235" y="620"/>
                    </a:cubicBezTo>
                    <a:cubicBezTo>
                      <a:pt x="230" y="616"/>
                      <a:pt x="225" y="613"/>
                      <a:pt x="220" y="610"/>
                    </a:cubicBezTo>
                    <a:cubicBezTo>
                      <a:pt x="217" y="607"/>
                      <a:pt x="214" y="605"/>
                      <a:pt x="211" y="603"/>
                    </a:cubicBezTo>
                    <a:lnTo>
                      <a:pt x="208" y="601"/>
                    </a:lnTo>
                    <a:cubicBezTo>
                      <a:pt x="204" y="597"/>
                      <a:pt x="201" y="594"/>
                      <a:pt x="198" y="591"/>
                    </a:cubicBezTo>
                    <a:cubicBezTo>
                      <a:pt x="194" y="588"/>
                      <a:pt x="194" y="588"/>
                      <a:pt x="193" y="586"/>
                    </a:cubicBezTo>
                    <a:lnTo>
                      <a:pt x="190" y="584"/>
                    </a:ln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auto">
              <a:xfrm>
                <a:off x="3761" y="3421"/>
                <a:ext cx="365" cy="210"/>
              </a:xfrm>
              <a:custGeom>
                <a:avLst/>
                <a:gdLst>
                  <a:gd name="T0" fmla="*/ 626 w 761"/>
                  <a:gd name="T1" fmla="*/ 78 h 439"/>
                  <a:gd name="T2" fmla="*/ 626 w 761"/>
                  <a:gd name="T3" fmla="*/ 361 h 439"/>
                  <a:gd name="T4" fmla="*/ 136 w 761"/>
                  <a:gd name="T5" fmla="*/ 361 h 439"/>
                  <a:gd name="T6" fmla="*/ 136 w 761"/>
                  <a:gd name="T7" fmla="*/ 78 h 439"/>
                  <a:gd name="T8" fmla="*/ 626 w 761"/>
                  <a:gd name="T9" fmla="*/ 78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1" h="439">
                    <a:moveTo>
                      <a:pt x="626" y="78"/>
                    </a:moveTo>
                    <a:cubicBezTo>
                      <a:pt x="761" y="156"/>
                      <a:pt x="761" y="283"/>
                      <a:pt x="626" y="361"/>
                    </a:cubicBezTo>
                    <a:cubicBezTo>
                      <a:pt x="491" y="439"/>
                      <a:pt x="271" y="439"/>
                      <a:pt x="136" y="361"/>
                    </a:cubicBezTo>
                    <a:cubicBezTo>
                      <a:pt x="0" y="283"/>
                      <a:pt x="0" y="156"/>
                      <a:pt x="136" y="78"/>
                    </a:cubicBezTo>
                    <a:cubicBezTo>
                      <a:pt x="271" y="0"/>
                      <a:pt x="491" y="0"/>
                      <a:pt x="626" y="78"/>
                    </a:cubicBezTo>
                    <a:close/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13"/>
              <p:cNvSpPr>
                <a:spLocks/>
              </p:cNvSpPr>
              <p:nvPr/>
            </p:nvSpPr>
            <p:spPr bwMode="auto">
              <a:xfrm>
                <a:off x="3809" y="3448"/>
                <a:ext cx="269" cy="156"/>
              </a:xfrm>
              <a:custGeom>
                <a:avLst/>
                <a:gdLst>
                  <a:gd name="T0" fmla="*/ 460 w 559"/>
                  <a:gd name="T1" fmla="*/ 58 h 324"/>
                  <a:gd name="T2" fmla="*/ 460 w 559"/>
                  <a:gd name="T3" fmla="*/ 266 h 324"/>
                  <a:gd name="T4" fmla="*/ 100 w 559"/>
                  <a:gd name="T5" fmla="*/ 266 h 324"/>
                  <a:gd name="T6" fmla="*/ 100 w 559"/>
                  <a:gd name="T7" fmla="*/ 58 h 324"/>
                  <a:gd name="T8" fmla="*/ 460 w 559"/>
                  <a:gd name="T9" fmla="*/ 58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9" h="324">
                    <a:moveTo>
                      <a:pt x="460" y="58"/>
                    </a:moveTo>
                    <a:cubicBezTo>
                      <a:pt x="559" y="115"/>
                      <a:pt x="559" y="208"/>
                      <a:pt x="460" y="266"/>
                    </a:cubicBezTo>
                    <a:cubicBezTo>
                      <a:pt x="360" y="324"/>
                      <a:pt x="199" y="323"/>
                      <a:pt x="100" y="266"/>
                    </a:cubicBezTo>
                    <a:cubicBezTo>
                      <a:pt x="0" y="209"/>
                      <a:pt x="0" y="115"/>
                      <a:pt x="100" y="58"/>
                    </a:cubicBezTo>
                    <a:cubicBezTo>
                      <a:pt x="199" y="0"/>
                      <a:pt x="361" y="0"/>
                      <a:pt x="460" y="58"/>
                    </a:cubicBezTo>
                  </a:path>
                </a:pathLst>
              </a:custGeom>
              <a:solidFill>
                <a:srgbClr val="1F2A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/>
            </p:nvSpPr>
            <p:spPr bwMode="auto">
              <a:xfrm>
                <a:off x="3829" y="3496"/>
                <a:ext cx="229" cy="107"/>
              </a:xfrm>
              <a:custGeom>
                <a:avLst/>
                <a:gdLst>
                  <a:gd name="T0" fmla="*/ 60 w 479"/>
                  <a:gd name="T1" fmla="*/ 57 h 224"/>
                  <a:gd name="T2" fmla="*/ 420 w 479"/>
                  <a:gd name="T3" fmla="*/ 57 h 224"/>
                  <a:gd name="T4" fmla="*/ 479 w 479"/>
                  <a:gd name="T5" fmla="*/ 112 h 224"/>
                  <a:gd name="T6" fmla="*/ 420 w 479"/>
                  <a:gd name="T7" fmla="*/ 166 h 224"/>
                  <a:gd name="T8" fmla="*/ 60 w 479"/>
                  <a:gd name="T9" fmla="*/ 166 h 224"/>
                  <a:gd name="T10" fmla="*/ 0 w 479"/>
                  <a:gd name="T11" fmla="*/ 111 h 224"/>
                  <a:gd name="T12" fmla="*/ 60 w 479"/>
                  <a:gd name="T13" fmla="*/ 5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9" h="224">
                    <a:moveTo>
                      <a:pt x="60" y="57"/>
                    </a:moveTo>
                    <a:cubicBezTo>
                      <a:pt x="159" y="0"/>
                      <a:pt x="321" y="0"/>
                      <a:pt x="420" y="57"/>
                    </a:cubicBezTo>
                    <a:cubicBezTo>
                      <a:pt x="444" y="70"/>
                      <a:pt x="464" y="89"/>
                      <a:pt x="479" y="112"/>
                    </a:cubicBezTo>
                    <a:cubicBezTo>
                      <a:pt x="464" y="135"/>
                      <a:pt x="444" y="153"/>
                      <a:pt x="420" y="166"/>
                    </a:cubicBezTo>
                    <a:cubicBezTo>
                      <a:pt x="320" y="224"/>
                      <a:pt x="159" y="224"/>
                      <a:pt x="60" y="166"/>
                    </a:cubicBezTo>
                    <a:cubicBezTo>
                      <a:pt x="36" y="153"/>
                      <a:pt x="15" y="134"/>
                      <a:pt x="0" y="111"/>
                    </a:cubicBezTo>
                    <a:cubicBezTo>
                      <a:pt x="15" y="89"/>
                      <a:pt x="36" y="70"/>
                      <a:pt x="60" y="57"/>
                    </a:cubicBezTo>
                  </a:path>
                </a:pathLst>
              </a:custGeom>
              <a:solidFill>
                <a:srgbClr val="E7E8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15"/>
              <p:cNvSpPr>
                <a:spLocks/>
              </p:cNvSpPr>
              <p:nvPr/>
            </p:nvSpPr>
            <p:spPr bwMode="auto">
              <a:xfrm>
                <a:off x="3882" y="3186"/>
                <a:ext cx="271" cy="382"/>
              </a:xfrm>
              <a:custGeom>
                <a:avLst/>
                <a:gdLst>
                  <a:gd name="T0" fmla="*/ 28 w 565"/>
                  <a:gd name="T1" fmla="*/ 460 h 795"/>
                  <a:gd name="T2" fmla="*/ 88 w 565"/>
                  <a:gd name="T3" fmla="*/ 385 h 795"/>
                  <a:gd name="T4" fmla="*/ 98 w 565"/>
                  <a:gd name="T5" fmla="*/ 211 h 795"/>
                  <a:gd name="T6" fmla="*/ 151 w 565"/>
                  <a:gd name="T7" fmla="*/ 154 h 795"/>
                  <a:gd name="T8" fmla="*/ 229 w 565"/>
                  <a:gd name="T9" fmla="*/ 134 h 795"/>
                  <a:gd name="T10" fmla="*/ 270 w 565"/>
                  <a:gd name="T11" fmla="*/ 122 h 795"/>
                  <a:gd name="T12" fmla="*/ 299 w 565"/>
                  <a:gd name="T13" fmla="*/ 85 h 795"/>
                  <a:gd name="T14" fmla="*/ 337 w 565"/>
                  <a:gd name="T15" fmla="*/ 45 h 795"/>
                  <a:gd name="T16" fmla="*/ 438 w 565"/>
                  <a:gd name="T17" fmla="*/ 1 h 795"/>
                  <a:gd name="T18" fmla="*/ 494 w 565"/>
                  <a:gd name="T19" fmla="*/ 127 h 795"/>
                  <a:gd name="T20" fmla="*/ 515 w 565"/>
                  <a:gd name="T21" fmla="*/ 252 h 795"/>
                  <a:gd name="T22" fmla="*/ 505 w 565"/>
                  <a:gd name="T23" fmla="*/ 412 h 795"/>
                  <a:gd name="T24" fmla="*/ 430 w 565"/>
                  <a:gd name="T25" fmla="*/ 528 h 795"/>
                  <a:gd name="T26" fmla="*/ 404 w 565"/>
                  <a:gd name="T27" fmla="*/ 718 h 795"/>
                  <a:gd name="T28" fmla="*/ 246 w 565"/>
                  <a:gd name="T29" fmla="*/ 792 h 795"/>
                  <a:gd name="T30" fmla="*/ 7 w 565"/>
                  <a:gd name="T31" fmla="*/ 574 h 795"/>
                  <a:gd name="T32" fmla="*/ 25 w 565"/>
                  <a:gd name="T33" fmla="*/ 464 h 795"/>
                  <a:gd name="T34" fmla="*/ 28 w 565"/>
                  <a:gd name="T35" fmla="*/ 46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5" h="795">
                    <a:moveTo>
                      <a:pt x="28" y="460"/>
                    </a:moveTo>
                    <a:cubicBezTo>
                      <a:pt x="45" y="433"/>
                      <a:pt x="72" y="413"/>
                      <a:pt x="88" y="385"/>
                    </a:cubicBezTo>
                    <a:cubicBezTo>
                      <a:pt x="121" y="327"/>
                      <a:pt x="81" y="270"/>
                      <a:pt x="98" y="211"/>
                    </a:cubicBezTo>
                    <a:cubicBezTo>
                      <a:pt x="107" y="186"/>
                      <a:pt x="126" y="165"/>
                      <a:pt x="151" y="154"/>
                    </a:cubicBezTo>
                    <a:cubicBezTo>
                      <a:pt x="176" y="144"/>
                      <a:pt x="202" y="137"/>
                      <a:pt x="229" y="134"/>
                    </a:cubicBezTo>
                    <a:cubicBezTo>
                      <a:pt x="243" y="133"/>
                      <a:pt x="257" y="129"/>
                      <a:pt x="270" y="122"/>
                    </a:cubicBezTo>
                    <a:cubicBezTo>
                      <a:pt x="285" y="114"/>
                      <a:pt x="289" y="99"/>
                      <a:pt x="299" y="85"/>
                    </a:cubicBezTo>
                    <a:cubicBezTo>
                      <a:pt x="310" y="71"/>
                      <a:pt x="323" y="57"/>
                      <a:pt x="337" y="45"/>
                    </a:cubicBezTo>
                    <a:cubicBezTo>
                      <a:pt x="364" y="20"/>
                      <a:pt x="400" y="0"/>
                      <a:pt x="438" y="1"/>
                    </a:cubicBezTo>
                    <a:cubicBezTo>
                      <a:pt x="519" y="5"/>
                      <a:pt x="517" y="74"/>
                      <a:pt x="494" y="127"/>
                    </a:cubicBezTo>
                    <a:cubicBezTo>
                      <a:pt x="471" y="180"/>
                      <a:pt x="464" y="196"/>
                      <a:pt x="515" y="252"/>
                    </a:cubicBezTo>
                    <a:cubicBezTo>
                      <a:pt x="565" y="307"/>
                      <a:pt x="565" y="374"/>
                      <a:pt x="505" y="412"/>
                    </a:cubicBezTo>
                    <a:cubicBezTo>
                      <a:pt x="445" y="450"/>
                      <a:pt x="406" y="455"/>
                      <a:pt x="430" y="528"/>
                    </a:cubicBezTo>
                    <a:cubicBezTo>
                      <a:pt x="451" y="593"/>
                      <a:pt x="464" y="648"/>
                      <a:pt x="404" y="718"/>
                    </a:cubicBezTo>
                    <a:cubicBezTo>
                      <a:pt x="365" y="763"/>
                      <a:pt x="312" y="795"/>
                      <a:pt x="246" y="792"/>
                    </a:cubicBezTo>
                    <a:cubicBezTo>
                      <a:pt x="125" y="787"/>
                      <a:pt x="27" y="690"/>
                      <a:pt x="7" y="574"/>
                    </a:cubicBezTo>
                    <a:cubicBezTo>
                      <a:pt x="0" y="536"/>
                      <a:pt x="6" y="497"/>
                      <a:pt x="25" y="464"/>
                    </a:cubicBezTo>
                    <a:lnTo>
                      <a:pt x="28" y="460"/>
                    </a:lnTo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16"/>
              <p:cNvSpPr>
                <a:spLocks/>
              </p:cNvSpPr>
              <p:nvPr/>
            </p:nvSpPr>
            <p:spPr bwMode="auto">
              <a:xfrm>
                <a:off x="3884" y="3187"/>
                <a:ext cx="263" cy="380"/>
              </a:xfrm>
              <a:custGeom>
                <a:avLst/>
                <a:gdLst>
                  <a:gd name="T0" fmla="*/ 250 w 548"/>
                  <a:gd name="T1" fmla="*/ 791 h 791"/>
                  <a:gd name="T2" fmla="*/ 242 w 548"/>
                  <a:gd name="T3" fmla="*/ 791 h 791"/>
                  <a:gd name="T4" fmla="*/ 3 w 548"/>
                  <a:gd name="T5" fmla="*/ 573 h 791"/>
                  <a:gd name="T6" fmla="*/ 0 w 548"/>
                  <a:gd name="T7" fmla="*/ 542 h 791"/>
                  <a:gd name="T8" fmla="*/ 21 w 548"/>
                  <a:gd name="T9" fmla="*/ 463 h 791"/>
                  <a:gd name="T10" fmla="*/ 24 w 548"/>
                  <a:gd name="T11" fmla="*/ 459 h 791"/>
                  <a:gd name="T12" fmla="*/ 84 w 548"/>
                  <a:gd name="T13" fmla="*/ 384 h 791"/>
                  <a:gd name="T14" fmla="*/ 97 w 548"/>
                  <a:gd name="T15" fmla="*/ 329 h 791"/>
                  <a:gd name="T16" fmla="*/ 97 w 548"/>
                  <a:gd name="T17" fmla="*/ 329 h 791"/>
                  <a:gd name="T18" fmla="*/ 89 w 548"/>
                  <a:gd name="T19" fmla="*/ 243 h 791"/>
                  <a:gd name="T20" fmla="*/ 94 w 548"/>
                  <a:gd name="T21" fmla="*/ 210 h 791"/>
                  <a:gd name="T22" fmla="*/ 147 w 548"/>
                  <a:gd name="T23" fmla="*/ 153 h 791"/>
                  <a:gd name="T24" fmla="*/ 225 w 548"/>
                  <a:gd name="T25" fmla="*/ 133 h 791"/>
                  <a:gd name="T26" fmla="*/ 266 w 548"/>
                  <a:gd name="T27" fmla="*/ 121 h 791"/>
                  <a:gd name="T28" fmla="*/ 295 w 548"/>
                  <a:gd name="T29" fmla="*/ 84 h 791"/>
                  <a:gd name="T30" fmla="*/ 333 w 548"/>
                  <a:gd name="T31" fmla="*/ 44 h 791"/>
                  <a:gd name="T32" fmla="*/ 430 w 548"/>
                  <a:gd name="T33" fmla="*/ 0 h 791"/>
                  <a:gd name="T34" fmla="*/ 434 w 548"/>
                  <a:gd name="T35" fmla="*/ 0 h 791"/>
                  <a:gd name="T36" fmla="*/ 504 w 548"/>
                  <a:gd name="T37" fmla="*/ 67 h 791"/>
                  <a:gd name="T38" fmla="*/ 490 w 548"/>
                  <a:gd name="T39" fmla="*/ 126 h 791"/>
                  <a:gd name="T40" fmla="*/ 473 w 548"/>
                  <a:gd name="T41" fmla="*/ 182 h 791"/>
                  <a:gd name="T42" fmla="*/ 473 w 548"/>
                  <a:gd name="T43" fmla="*/ 182 h 791"/>
                  <a:gd name="T44" fmla="*/ 511 w 548"/>
                  <a:gd name="T45" fmla="*/ 251 h 791"/>
                  <a:gd name="T46" fmla="*/ 548 w 548"/>
                  <a:gd name="T47" fmla="*/ 334 h 791"/>
                  <a:gd name="T48" fmla="*/ 501 w 548"/>
                  <a:gd name="T49" fmla="*/ 411 h 791"/>
                  <a:gd name="T50" fmla="*/ 419 w 548"/>
                  <a:gd name="T51" fmla="*/ 490 h 791"/>
                  <a:gd name="T52" fmla="*/ 419 w 548"/>
                  <a:gd name="T53" fmla="*/ 490 h 791"/>
                  <a:gd name="T54" fmla="*/ 426 w 548"/>
                  <a:gd name="T55" fmla="*/ 527 h 791"/>
                  <a:gd name="T56" fmla="*/ 444 w 548"/>
                  <a:gd name="T57" fmla="*/ 613 h 791"/>
                  <a:gd name="T58" fmla="*/ 400 w 548"/>
                  <a:gd name="T59" fmla="*/ 717 h 791"/>
                  <a:gd name="T60" fmla="*/ 250 w 548"/>
                  <a:gd name="T61" fmla="*/ 79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8" h="791">
                    <a:moveTo>
                      <a:pt x="250" y="791"/>
                    </a:moveTo>
                    <a:cubicBezTo>
                      <a:pt x="247" y="791"/>
                      <a:pt x="244" y="791"/>
                      <a:pt x="242" y="791"/>
                    </a:cubicBezTo>
                    <a:cubicBezTo>
                      <a:pt x="121" y="786"/>
                      <a:pt x="23" y="689"/>
                      <a:pt x="3" y="573"/>
                    </a:cubicBezTo>
                    <a:cubicBezTo>
                      <a:pt x="1" y="563"/>
                      <a:pt x="0" y="553"/>
                      <a:pt x="0" y="542"/>
                    </a:cubicBezTo>
                    <a:cubicBezTo>
                      <a:pt x="0" y="515"/>
                      <a:pt x="8" y="487"/>
                      <a:pt x="21" y="463"/>
                    </a:cubicBezTo>
                    <a:lnTo>
                      <a:pt x="24" y="459"/>
                    </a:lnTo>
                    <a:cubicBezTo>
                      <a:pt x="41" y="432"/>
                      <a:pt x="68" y="412"/>
                      <a:pt x="84" y="384"/>
                    </a:cubicBezTo>
                    <a:cubicBezTo>
                      <a:pt x="94" y="366"/>
                      <a:pt x="97" y="348"/>
                      <a:pt x="97" y="329"/>
                    </a:cubicBezTo>
                    <a:lnTo>
                      <a:pt x="97" y="329"/>
                    </a:lnTo>
                    <a:cubicBezTo>
                      <a:pt x="97" y="301"/>
                      <a:pt x="89" y="272"/>
                      <a:pt x="89" y="243"/>
                    </a:cubicBezTo>
                    <a:cubicBezTo>
                      <a:pt x="89" y="232"/>
                      <a:pt x="91" y="221"/>
                      <a:pt x="94" y="210"/>
                    </a:cubicBezTo>
                    <a:cubicBezTo>
                      <a:pt x="103" y="185"/>
                      <a:pt x="122" y="164"/>
                      <a:pt x="147" y="153"/>
                    </a:cubicBezTo>
                    <a:cubicBezTo>
                      <a:pt x="172" y="143"/>
                      <a:pt x="198" y="136"/>
                      <a:pt x="225" y="133"/>
                    </a:cubicBezTo>
                    <a:cubicBezTo>
                      <a:pt x="239" y="132"/>
                      <a:pt x="253" y="128"/>
                      <a:pt x="266" y="121"/>
                    </a:cubicBezTo>
                    <a:cubicBezTo>
                      <a:pt x="281" y="113"/>
                      <a:pt x="285" y="98"/>
                      <a:pt x="295" y="84"/>
                    </a:cubicBezTo>
                    <a:cubicBezTo>
                      <a:pt x="306" y="70"/>
                      <a:pt x="319" y="56"/>
                      <a:pt x="333" y="44"/>
                    </a:cubicBezTo>
                    <a:cubicBezTo>
                      <a:pt x="359" y="20"/>
                      <a:pt x="393" y="0"/>
                      <a:pt x="430" y="0"/>
                    </a:cubicBezTo>
                    <a:cubicBezTo>
                      <a:pt x="431" y="0"/>
                      <a:pt x="433" y="0"/>
                      <a:pt x="434" y="0"/>
                    </a:cubicBezTo>
                    <a:cubicBezTo>
                      <a:pt x="486" y="3"/>
                      <a:pt x="504" y="32"/>
                      <a:pt x="504" y="67"/>
                    </a:cubicBezTo>
                    <a:cubicBezTo>
                      <a:pt x="504" y="86"/>
                      <a:pt x="498" y="107"/>
                      <a:pt x="490" y="126"/>
                    </a:cubicBezTo>
                    <a:cubicBezTo>
                      <a:pt x="480" y="150"/>
                      <a:pt x="473" y="166"/>
                      <a:pt x="473" y="182"/>
                    </a:cubicBezTo>
                    <a:lnTo>
                      <a:pt x="473" y="182"/>
                    </a:lnTo>
                    <a:cubicBezTo>
                      <a:pt x="473" y="202"/>
                      <a:pt x="483" y="220"/>
                      <a:pt x="511" y="251"/>
                    </a:cubicBezTo>
                    <a:cubicBezTo>
                      <a:pt x="535" y="278"/>
                      <a:pt x="548" y="307"/>
                      <a:pt x="548" y="334"/>
                    </a:cubicBezTo>
                    <a:cubicBezTo>
                      <a:pt x="548" y="364"/>
                      <a:pt x="533" y="391"/>
                      <a:pt x="501" y="411"/>
                    </a:cubicBezTo>
                    <a:cubicBezTo>
                      <a:pt x="453" y="441"/>
                      <a:pt x="419" y="451"/>
                      <a:pt x="419" y="490"/>
                    </a:cubicBezTo>
                    <a:lnTo>
                      <a:pt x="419" y="490"/>
                    </a:lnTo>
                    <a:cubicBezTo>
                      <a:pt x="419" y="500"/>
                      <a:pt x="421" y="512"/>
                      <a:pt x="426" y="527"/>
                    </a:cubicBezTo>
                    <a:cubicBezTo>
                      <a:pt x="436" y="557"/>
                      <a:pt x="444" y="585"/>
                      <a:pt x="444" y="613"/>
                    </a:cubicBezTo>
                    <a:cubicBezTo>
                      <a:pt x="444" y="646"/>
                      <a:pt x="432" y="680"/>
                      <a:pt x="400" y="717"/>
                    </a:cubicBezTo>
                    <a:cubicBezTo>
                      <a:pt x="363" y="760"/>
                      <a:pt x="312" y="791"/>
                      <a:pt x="250" y="791"/>
                    </a:cubicBez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/>
            </p:nvSpPr>
            <p:spPr bwMode="auto">
              <a:xfrm>
                <a:off x="3959" y="3243"/>
                <a:ext cx="134" cy="315"/>
              </a:xfrm>
              <a:custGeom>
                <a:avLst/>
                <a:gdLst>
                  <a:gd name="T0" fmla="*/ 279 w 280"/>
                  <a:gd name="T1" fmla="*/ 198 h 656"/>
                  <a:gd name="T2" fmla="*/ 272 w 280"/>
                  <a:gd name="T3" fmla="*/ 194 h 656"/>
                  <a:gd name="T4" fmla="*/ 84 w 280"/>
                  <a:gd name="T5" fmla="*/ 265 h 656"/>
                  <a:gd name="T6" fmla="*/ 232 w 280"/>
                  <a:gd name="T7" fmla="*/ 11 h 656"/>
                  <a:gd name="T8" fmla="*/ 232 w 280"/>
                  <a:gd name="T9" fmla="*/ 2 h 656"/>
                  <a:gd name="T10" fmla="*/ 223 w 280"/>
                  <a:gd name="T11" fmla="*/ 2 h 656"/>
                  <a:gd name="T12" fmla="*/ 94 w 280"/>
                  <a:gd name="T13" fmla="*/ 211 h 656"/>
                  <a:gd name="T14" fmla="*/ 33 w 280"/>
                  <a:gd name="T15" fmla="*/ 112 h 656"/>
                  <a:gd name="T16" fmla="*/ 25 w 280"/>
                  <a:gd name="T17" fmla="*/ 111 h 656"/>
                  <a:gd name="T18" fmla="*/ 24 w 280"/>
                  <a:gd name="T19" fmla="*/ 120 h 656"/>
                  <a:gd name="T20" fmla="*/ 87 w 280"/>
                  <a:gd name="T21" fmla="*/ 226 h 656"/>
                  <a:gd name="T22" fmla="*/ 67 w 280"/>
                  <a:gd name="T23" fmla="*/ 276 h 656"/>
                  <a:gd name="T24" fmla="*/ 66 w 280"/>
                  <a:gd name="T25" fmla="*/ 280 h 656"/>
                  <a:gd name="T26" fmla="*/ 2 w 280"/>
                  <a:gd name="T27" fmla="*/ 650 h 656"/>
                  <a:gd name="T28" fmla="*/ 7 w 280"/>
                  <a:gd name="T29" fmla="*/ 656 h 656"/>
                  <a:gd name="T30" fmla="*/ 8 w 280"/>
                  <a:gd name="T31" fmla="*/ 656 h 656"/>
                  <a:gd name="T32" fmla="*/ 10 w 280"/>
                  <a:gd name="T33" fmla="*/ 656 h 656"/>
                  <a:gd name="T34" fmla="*/ 14 w 280"/>
                  <a:gd name="T35" fmla="*/ 651 h 656"/>
                  <a:gd name="T36" fmla="*/ 77 w 280"/>
                  <a:gd name="T37" fmla="*/ 284 h 656"/>
                  <a:gd name="T38" fmla="*/ 275 w 280"/>
                  <a:gd name="T39" fmla="*/ 206 h 656"/>
                  <a:gd name="T40" fmla="*/ 279 w 280"/>
                  <a:gd name="T41" fmla="*/ 199 h 656"/>
                  <a:gd name="T42" fmla="*/ 279 w 280"/>
                  <a:gd name="T43" fmla="*/ 198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0" h="656">
                    <a:moveTo>
                      <a:pt x="279" y="198"/>
                    </a:moveTo>
                    <a:cubicBezTo>
                      <a:pt x="278" y="195"/>
                      <a:pt x="275" y="193"/>
                      <a:pt x="272" y="194"/>
                    </a:cubicBezTo>
                    <a:cubicBezTo>
                      <a:pt x="267" y="195"/>
                      <a:pt x="158" y="224"/>
                      <a:pt x="84" y="265"/>
                    </a:cubicBezTo>
                    <a:cubicBezTo>
                      <a:pt x="147" y="103"/>
                      <a:pt x="230" y="12"/>
                      <a:pt x="232" y="11"/>
                    </a:cubicBezTo>
                    <a:cubicBezTo>
                      <a:pt x="234" y="9"/>
                      <a:pt x="234" y="5"/>
                      <a:pt x="232" y="2"/>
                    </a:cubicBezTo>
                    <a:cubicBezTo>
                      <a:pt x="229" y="0"/>
                      <a:pt x="226" y="0"/>
                      <a:pt x="223" y="2"/>
                    </a:cubicBezTo>
                    <a:cubicBezTo>
                      <a:pt x="170" y="65"/>
                      <a:pt x="127" y="135"/>
                      <a:pt x="94" y="211"/>
                    </a:cubicBezTo>
                    <a:cubicBezTo>
                      <a:pt x="78" y="175"/>
                      <a:pt x="58" y="142"/>
                      <a:pt x="33" y="112"/>
                    </a:cubicBezTo>
                    <a:cubicBezTo>
                      <a:pt x="31" y="109"/>
                      <a:pt x="27" y="109"/>
                      <a:pt x="25" y="111"/>
                    </a:cubicBezTo>
                    <a:cubicBezTo>
                      <a:pt x="22" y="113"/>
                      <a:pt x="22" y="117"/>
                      <a:pt x="24" y="120"/>
                    </a:cubicBezTo>
                    <a:cubicBezTo>
                      <a:pt x="50" y="152"/>
                      <a:pt x="71" y="188"/>
                      <a:pt x="87" y="226"/>
                    </a:cubicBezTo>
                    <a:cubicBezTo>
                      <a:pt x="81" y="241"/>
                      <a:pt x="74" y="258"/>
                      <a:pt x="67" y="276"/>
                    </a:cubicBezTo>
                    <a:cubicBezTo>
                      <a:pt x="66" y="277"/>
                      <a:pt x="66" y="278"/>
                      <a:pt x="66" y="280"/>
                    </a:cubicBezTo>
                    <a:cubicBezTo>
                      <a:pt x="22" y="398"/>
                      <a:pt x="0" y="524"/>
                      <a:pt x="2" y="650"/>
                    </a:cubicBezTo>
                    <a:cubicBezTo>
                      <a:pt x="2" y="654"/>
                      <a:pt x="4" y="656"/>
                      <a:pt x="7" y="656"/>
                    </a:cubicBezTo>
                    <a:lnTo>
                      <a:pt x="8" y="656"/>
                    </a:lnTo>
                    <a:lnTo>
                      <a:pt x="10" y="656"/>
                    </a:lnTo>
                    <a:cubicBezTo>
                      <a:pt x="12" y="655"/>
                      <a:pt x="14" y="653"/>
                      <a:pt x="14" y="651"/>
                    </a:cubicBezTo>
                    <a:cubicBezTo>
                      <a:pt x="12" y="525"/>
                      <a:pt x="34" y="401"/>
                      <a:pt x="77" y="284"/>
                    </a:cubicBezTo>
                    <a:cubicBezTo>
                      <a:pt x="149" y="239"/>
                      <a:pt x="274" y="206"/>
                      <a:pt x="275" y="206"/>
                    </a:cubicBezTo>
                    <a:cubicBezTo>
                      <a:pt x="278" y="205"/>
                      <a:pt x="280" y="202"/>
                      <a:pt x="279" y="199"/>
                    </a:cubicBezTo>
                    <a:lnTo>
                      <a:pt x="279" y="198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18"/>
              <p:cNvSpPr>
                <a:spLocks/>
              </p:cNvSpPr>
              <p:nvPr/>
            </p:nvSpPr>
            <p:spPr bwMode="auto">
              <a:xfrm>
                <a:off x="3723" y="3289"/>
                <a:ext cx="285" cy="295"/>
              </a:xfrm>
              <a:custGeom>
                <a:avLst/>
                <a:gdLst>
                  <a:gd name="T0" fmla="*/ 469 w 593"/>
                  <a:gd name="T1" fmla="*/ 591 h 616"/>
                  <a:gd name="T2" fmla="*/ 434 w 593"/>
                  <a:gd name="T3" fmla="*/ 603 h 616"/>
                  <a:gd name="T4" fmla="*/ 279 w 593"/>
                  <a:gd name="T5" fmla="*/ 602 h 616"/>
                  <a:gd name="T6" fmla="*/ 173 w 593"/>
                  <a:gd name="T7" fmla="*/ 564 h 616"/>
                  <a:gd name="T8" fmla="*/ 161 w 593"/>
                  <a:gd name="T9" fmla="*/ 515 h 616"/>
                  <a:gd name="T10" fmla="*/ 193 w 593"/>
                  <a:gd name="T11" fmla="*/ 468 h 616"/>
                  <a:gd name="T12" fmla="*/ 78 w 593"/>
                  <a:gd name="T13" fmla="*/ 444 h 616"/>
                  <a:gd name="T14" fmla="*/ 26 w 593"/>
                  <a:gd name="T15" fmla="*/ 376 h 616"/>
                  <a:gd name="T16" fmla="*/ 23 w 593"/>
                  <a:gd name="T17" fmla="*/ 321 h 616"/>
                  <a:gd name="T18" fmla="*/ 77 w 593"/>
                  <a:gd name="T19" fmla="*/ 294 h 616"/>
                  <a:gd name="T20" fmla="*/ 93 w 593"/>
                  <a:gd name="T21" fmla="*/ 290 h 616"/>
                  <a:gd name="T22" fmla="*/ 100 w 593"/>
                  <a:gd name="T23" fmla="*/ 276 h 616"/>
                  <a:gd name="T24" fmla="*/ 84 w 593"/>
                  <a:gd name="T25" fmla="*/ 264 h 616"/>
                  <a:gd name="T26" fmla="*/ 43 w 593"/>
                  <a:gd name="T27" fmla="*/ 252 h 616"/>
                  <a:gd name="T28" fmla="*/ 9 w 593"/>
                  <a:gd name="T29" fmla="*/ 226 h 616"/>
                  <a:gd name="T30" fmla="*/ 3 w 593"/>
                  <a:gd name="T31" fmla="*/ 175 h 616"/>
                  <a:gd name="T32" fmla="*/ 15 w 593"/>
                  <a:gd name="T33" fmla="*/ 89 h 616"/>
                  <a:gd name="T34" fmla="*/ 22 w 593"/>
                  <a:gd name="T35" fmla="*/ 13 h 616"/>
                  <a:gd name="T36" fmla="*/ 241 w 593"/>
                  <a:gd name="T37" fmla="*/ 18 h 616"/>
                  <a:gd name="T38" fmla="*/ 355 w 593"/>
                  <a:gd name="T39" fmla="*/ 86 h 616"/>
                  <a:gd name="T40" fmla="*/ 360 w 593"/>
                  <a:gd name="T41" fmla="*/ 124 h 616"/>
                  <a:gd name="T42" fmla="*/ 356 w 593"/>
                  <a:gd name="T43" fmla="*/ 141 h 616"/>
                  <a:gd name="T44" fmla="*/ 360 w 593"/>
                  <a:gd name="T45" fmla="*/ 152 h 616"/>
                  <a:gd name="T46" fmla="*/ 364 w 593"/>
                  <a:gd name="T47" fmla="*/ 146 h 616"/>
                  <a:gd name="T48" fmla="*/ 392 w 593"/>
                  <a:gd name="T49" fmla="*/ 90 h 616"/>
                  <a:gd name="T50" fmla="*/ 403 w 593"/>
                  <a:gd name="T51" fmla="*/ 76 h 616"/>
                  <a:gd name="T52" fmla="*/ 476 w 593"/>
                  <a:gd name="T53" fmla="*/ 99 h 616"/>
                  <a:gd name="T54" fmla="*/ 515 w 593"/>
                  <a:gd name="T55" fmla="*/ 168 h 616"/>
                  <a:gd name="T56" fmla="*/ 510 w 593"/>
                  <a:gd name="T57" fmla="*/ 296 h 616"/>
                  <a:gd name="T58" fmla="*/ 537 w 593"/>
                  <a:gd name="T59" fmla="*/ 258 h 616"/>
                  <a:gd name="T60" fmla="*/ 590 w 593"/>
                  <a:gd name="T61" fmla="*/ 312 h 616"/>
                  <a:gd name="T62" fmla="*/ 565 w 593"/>
                  <a:gd name="T63" fmla="*/ 470 h 616"/>
                  <a:gd name="T64" fmla="*/ 469 w 593"/>
                  <a:gd name="T65" fmla="*/ 591 h 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93" h="616">
                    <a:moveTo>
                      <a:pt x="469" y="591"/>
                    </a:moveTo>
                    <a:cubicBezTo>
                      <a:pt x="466" y="593"/>
                      <a:pt x="438" y="602"/>
                      <a:pt x="434" y="603"/>
                    </a:cubicBezTo>
                    <a:cubicBezTo>
                      <a:pt x="389" y="616"/>
                      <a:pt x="332" y="609"/>
                      <a:pt x="279" y="602"/>
                    </a:cubicBezTo>
                    <a:cubicBezTo>
                      <a:pt x="245" y="597"/>
                      <a:pt x="199" y="589"/>
                      <a:pt x="173" y="564"/>
                    </a:cubicBezTo>
                    <a:cubicBezTo>
                      <a:pt x="159" y="551"/>
                      <a:pt x="154" y="532"/>
                      <a:pt x="161" y="515"/>
                    </a:cubicBezTo>
                    <a:cubicBezTo>
                      <a:pt x="169" y="497"/>
                      <a:pt x="191" y="487"/>
                      <a:pt x="193" y="468"/>
                    </a:cubicBezTo>
                    <a:cubicBezTo>
                      <a:pt x="156" y="455"/>
                      <a:pt x="111" y="465"/>
                      <a:pt x="78" y="444"/>
                    </a:cubicBezTo>
                    <a:cubicBezTo>
                      <a:pt x="54" y="428"/>
                      <a:pt x="35" y="404"/>
                      <a:pt x="26" y="376"/>
                    </a:cubicBezTo>
                    <a:cubicBezTo>
                      <a:pt x="18" y="359"/>
                      <a:pt x="17" y="339"/>
                      <a:pt x="23" y="321"/>
                    </a:cubicBezTo>
                    <a:cubicBezTo>
                      <a:pt x="32" y="302"/>
                      <a:pt x="56" y="297"/>
                      <a:pt x="77" y="294"/>
                    </a:cubicBezTo>
                    <a:cubicBezTo>
                      <a:pt x="82" y="294"/>
                      <a:pt x="88" y="292"/>
                      <a:pt x="93" y="290"/>
                    </a:cubicBezTo>
                    <a:cubicBezTo>
                      <a:pt x="98" y="287"/>
                      <a:pt x="100" y="281"/>
                      <a:pt x="100" y="276"/>
                    </a:cubicBezTo>
                    <a:cubicBezTo>
                      <a:pt x="98" y="269"/>
                      <a:pt x="91" y="266"/>
                      <a:pt x="84" y="264"/>
                    </a:cubicBezTo>
                    <a:cubicBezTo>
                      <a:pt x="71" y="259"/>
                      <a:pt x="57" y="257"/>
                      <a:pt x="43" y="252"/>
                    </a:cubicBezTo>
                    <a:cubicBezTo>
                      <a:pt x="29" y="247"/>
                      <a:pt x="17" y="238"/>
                      <a:pt x="9" y="226"/>
                    </a:cubicBezTo>
                    <a:cubicBezTo>
                      <a:pt x="2" y="210"/>
                      <a:pt x="0" y="192"/>
                      <a:pt x="3" y="175"/>
                    </a:cubicBezTo>
                    <a:cubicBezTo>
                      <a:pt x="5" y="146"/>
                      <a:pt x="9" y="117"/>
                      <a:pt x="15" y="89"/>
                    </a:cubicBezTo>
                    <a:cubicBezTo>
                      <a:pt x="19" y="64"/>
                      <a:pt x="21" y="39"/>
                      <a:pt x="22" y="13"/>
                    </a:cubicBezTo>
                    <a:cubicBezTo>
                      <a:pt x="94" y="0"/>
                      <a:pt x="169" y="1"/>
                      <a:pt x="241" y="18"/>
                    </a:cubicBezTo>
                    <a:cubicBezTo>
                      <a:pt x="281" y="27"/>
                      <a:pt x="338" y="45"/>
                      <a:pt x="355" y="86"/>
                    </a:cubicBezTo>
                    <a:cubicBezTo>
                      <a:pt x="360" y="98"/>
                      <a:pt x="362" y="111"/>
                      <a:pt x="360" y="124"/>
                    </a:cubicBezTo>
                    <a:cubicBezTo>
                      <a:pt x="359" y="129"/>
                      <a:pt x="358" y="135"/>
                      <a:pt x="356" y="141"/>
                    </a:cubicBezTo>
                    <a:cubicBezTo>
                      <a:pt x="355" y="144"/>
                      <a:pt x="352" y="158"/>
                      <a:pt x="360" y="152"/>
                    </a:cubicBezTo>
                    <a:cubicBezTo>
                      <a:pt x="362" y="150"/>
                      <a:pt x="363" y="148"/>
                      <a:pt x="364" y="146"/>
                    </a:cubicBezTo>
                    <a:lnTo>
                      <a:pt x="392" y="90"/>
                    </a:lnTo>
                    <a:cubicBezTo>
                      <a:pt x="394" y="85"/>
                      <a:pt x="398" y="79"/>
                      <a:pt x="403" y="76"/>
                    </a:cubicBezTo>
                    <a:cubicBezTo>
                      <a:pt x="414" y="69"/>
                      <a:pt x="445" y="74"/>
                      <a:pt x="476" y="99"/>
                    </a:cubicBezTo>
                    <a:cubicBezTo>
                      <a:pt x="496" y="117"/>
                      <a:pt x="510" y="141"/>
                      <a:pt x="515" y="168"/>
                    </a:cubicBezTo>
                    <a:cubicBezTo>
                      <a:pt x="524" y="210"/>
                      <a:pt x="517" y="253"/>
                      <a:pt x="510" y="296"/>
                    </a:cubicBezTo>
                    <a:lnTo>
                      <a:pt x="537" y="258"/>
                    </a:lnTo>
                    <a:cubicBezTo>
                      <a:pt x="569" y="214"/>
                      <a:pt x="588" y="294"/>
                      <a:pt x="590" y="312"/>
                    </a:cubicBezTo>
                    <a:cubicBezTo>
                      <a:pt x="593" y="366"/>
                      <a:pt x="584" y="420"/>
                      <a:pt x="565" y="470"/>
                    </a:cubicBezTo>
                    <a:cubicBezTo>
                      <a:pt x="543" y="519"/>
                      <a:pt x="514" y="562"/>
                      <a:pt x="469" y="591"/>
                    </a:cubicBezTo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 19"/>
              <p:cNvSpPr>
                <a:spLocks/>
              </p:cNvSpPr>
              <p:nvPr/>
            </p:nvSpPr>
            <p:spPr bwMode="auto">
              <a:xfrm>
                <a:off x="3765" y="3310"/>
                <a:ext cx="181" cy="262"/>
              </a:xfrm>
              <a:custGeom>
                <a:avLst/>
                <a:gdLst>
                  <a:gd name="T0" fmla="*/ 298 w 377"/>
                  <a:gd name="T1" fmla="*/ 338 h 545"/>
                  <a:gd name="T2" fmla="*/ 352 w 377"/>
                  <a:gd name="T3" fmla="*/ 133 h 545"/>
                  <a:gd name="T4" fmla="*/ 353 w 377"/>
                  <a:gd name="T5" fmla="*/ 132 h 545"/>
                  <a:gd name="T6" fmla="*/ 350 w 377"/>
                  <a:gd name="T7" fmla="*/ 125 h 545"/>
                  <a:gd name="T8" fmla="*/ 350 w 377"/>
                  <a:gd name="T9" fmla="*/ 125 h 545"/>
                  <a:gd name="T10" fmla="*/ 343 w 377"/>
                  <a:gd name="T11" fmla="*/ 127 h 545"/>
                  <a:gd name="T12" fmla="*/ 343 w 377"/>
                  <a:gd name="T13" fmla="*/ 129 h 545"/>
                  <a:gd name="T14" fmla="*/ 289 w 377"/>
                  <a:gd name="T15" fmla="*/ 320 h 545"/>
                  <a:gd name="T16" fmla="*/ 9 w 377"/>
                  <a:gd name="T17" fmla="*/ 1 h 545"/>
                  <a:gd name="T18" fmla="*/ 2 w 377"/>
                  <a:gd name="T19" fmla="*/ 3 h 545"/>
                  <a:gd name="T20" fmla="*/ 4 w 377"/>
                  <a:gd name="T21" fmla="*/ 11 h 545"/>
                  <a:gd name="T22" fmla="*/ 4 w 377"/>
                  <a:gd name="T23" fmla="*/ 11 h 545"/>
                  <a:gd name="T24" fmla="*/ 279 w 377"/>
                  <a:gd name="T25" fmla="*/ 327 h 545"/>
                  <a:gd name="T26" fmla="*/ 63 w 377"/>
                  <a:gd name="T27" fmla="*/ 313 h 545"/>
                  <a:gd name="T28" fmla="*/ 59 w 377"/>
                  <a:gd name="T29" fmla="*/ 319 h 545"/>
                  <a:gd name="T30" fmla="*/ 59 w 377"/>
                  <a:gd name="T31" fmla="*/ 320 h 545"/>
                  <a:gd name="T32" fmla="*/ 64 w 377"/>
                  <a:gd name="T33" fmla="*/ 323 h 545"/>
                  <a:gd name="T34" fmla="*/ 66 w 377"/>
                  <a:gd name="T35" fmla="*/ 323 h 545"/>
                  <a:gd name="T36" fmla="*/ 288 w 377"/>
                  <a:gd name="T37" fmla="*/ 343 h 545"/>
                  <a:gd name="T38" fmla="*/ 365 w 377"/>
                  <a:gd name="T39" fmla="*/ 541 h 545"/>
                  <a:gd name="T40" fmla="*/ 369 w 377"/>
                  <a:gd name="T41" fmla="*/ 545 h 545"/>
                  <a:gd name="T42" fmla="*/ 372 w 377"/>
                  <a:gd name="T43" fmla="*/ 545 h 545"/>
                  <a:gd name="T44" fmla="*/ 377 w 377"/>
                  <a:gd name="T45" fmla="*/ 539 h 545"/>
                  <a:gd name="T46" fmla="*/ 377 w 377"/>
                  <a:gd name="T47" fmla="*/ 539 h 545"/>
                  <a:gd name="T48" fmla="*/ 298 w 377"/>
                  <a:gd name="T49" fmla="*/ 338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77" h="545">
                    <a:moveTo>
                      <a:pt x="298" y="338"/>
                    </a:moveTo>
                    <a:cubicBezTo>
                      <a:pt x="301" y="266"/>
                      <a:pt x="320" y="197"/>
                      <a:pt x="352" y="133"/>
                    </a:cubicBezTo>
                    <a:lnTo>
                      <a:pt x="353" y="132"/>
                    </a:lnTo>
                    <a:cubicBezTo>
                      <a:pt x="354" y="129"/>
                      <a:pt x="353" y="126"/>
                      <a:pt x="350" y="125"/>
                    </a:cubicBezTo>
                    <a:lnTo>
                      <a:pt x="350" y="125"/>
                    </a:lnTo>
                    <a:cubicBezTo>
                      <a:pt x="348" y="124"/>
                      <a:pt x="344" y="125"/>
                      <a:pt x="343" y="127"/>
                    </a:cubicBezTo>
                    <a:lnTo>
                      <a:pt x="343" y="129"/>
                    </a:lnTo>
                    <a:cubicBezTo>
                      <a:pt x="312" y="189"/>
                      <a:pt x="294" y="254"/>
                      <a:pt x="289" y="320"/>
                    </a:cubicBezTo>
                    <a:cubicBezTo>
                      <a:pt x="202" y="175"/>
                      <a:pt x="76" y="37"/>
                      <a:pt x="9" y="1"/>
                    </a:cubicBezTo>
                    <a:cubicBezTo>
                      <a:pt x="7" y="0"/>
                      <a:pt x="3" y="1"/>
                      <a:pt x="2" y="3"/>
                    </a:cubicBezTo>
                    <a:cubicBezTo>
                      <a:pt x="0" y="6"/>
                      <a:pt x="1" y="10"/>
                      <a:pt x="4" y="11"/>
                    </a:cubicBezTo>
                    <a:lnTo>
                      <a:pt x="4" y="11"/>
                    </a:lnTo>
                    <a:cubicBezTo>
                      <a:pt x="69" y="47"/>
                      <a:pt x="194" y="184"/>
                      <a:pt x="279" y="327"/>
                    </a:cubicBezTo>
                    <a:cubicBezTo>
                      <a:pt x="211" y="298"/>
                      <a:pt x="135" y="293"/>
                      <a:pt x="63" y="313"/>
                    </a:cubicBezTo>
                    <a:cubicBezTo>
                      <a:pt x="60" y="314"/>
                      <a:pt x="58" y="317"/>
                      <a:pt x="59" y="319"/>
                    </a:cubicBezTo>
                    <a:lnTo>
                      <a:pt x="59" y="320"/>
                    </a:lnTo>
                    <a:cubicBezTo>
                      <a:pt x="60" y="321"/>
                      <a:pt x="62" y="323"/>
                      <a:pt x="64" y="323"/>
                    </a:cubicBezTo>
                    <a:lnTo>
                      <a:pt x="66" y="323"/>
                    </a:lnTo>
                    <a:cubicBezTo>
                      <a:pt x="140" y="303"/>
                      <a:pt x="219" y="310"/>
                      <a:pt x="288" y="343"/>
                    </a:cubicBezTo>
                    <a:cubicBezTo>
                      <a:pt x="327" y="412"/>
                      <a:pt x="357" y="481"/>
                      <a:pt x="365" y="541"/>
                    </a:cubicBezTo>
                    <a:cubicBezTo>
                      <a:pt x="366" y="543"/>
                      <a:pt x="367" y="545"/>
                      <a:pt x="369" y="545"/>
                    </a:cubicBezTo>
                    <a:lnTo>
                      <a:pt x="372" y="545"/>
                    </a:lnTo>
                    <a:cubicBezTo>
                      <a:pt x="375" y="545"/>
                      <a:pt x="377" y="542"/>
                      <a:pt x="377" y="539"/>
                    </a:cubicBezTo>
                    <a:lnTo>
                      <a:pt x="377" y="539"/>
                    </a:lnTo>
                    <a:cubicBezTo>
                      <a:pt x="368" y="477"/>
                      <a:pt x="338" y="407"/>
                      <a:pt x="298" y="3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20"/>
              <p:cNvSpPr>
                <a:spLocks/>
              </p:cNvSpPr>
              <p:nvPr/>
            </p:nvSpPr>
            <p:spPr bwMode="auto">
              <a:xfrm>
                <a:off x="2820" y="2584"/>
                <a:ext cx="24" cy="80"/>
              </a:xfrm>
              <a:custGeom>
                <a:avLst/>
                <a:gdLst>
                  <a:gd name="T0" fmla="*/ 0 w 50"/>
                  <a:gd name="T1" fmla="*/ 0 h 167"/>
                  <a:gd name="T2" fmla="*/ 0 w 50"/>
                  <a:gd name="T3" fmla="*/ 142 h 167"/>
                  <a:gd name="T4" fmla="*/ 25 w 50"/>
                  <a:gd name="T5" fmla="*/ 167 h 167"/>
                  <a:gd name="T6" fmla="*/ 50 w 50"/>
                  <a:gd name="T7" fmla="*/ 142 h 167"/>
                  <a:gd name="T8" fmla="*/ 50 w 50"/>
                  <a:gd name="T9" fmla="*/ 0 h 167"/>
                  <a:gd name="T10" fmla="*/ 0 w 50"/>
                  <a:gd name="T11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167">
                    <a:moveTo>
                      <a:pt x="0" y="0"/>
                    </a:moveTo>
                    <a:lnTo>
                      <a:pt x="0" y="142"/>
                    </a:lnTo>
                    <a:cubicBezTo>
                      <a:pt x="0" y="156"/>
                      <a:pt x="11" y="167"/>
                      <a:pt x="25" y="167"/>
                    </a:cubicBezTo>
                    <a:cubicBezTo>
                      <a:pt x="39" y="167"/>
                      <a:pt x="50" y="156"/>
                      <a:pt x="50" y="142"/>
                    </a:cubicBezTo>
                    <a:lnTo>
                      <a:pt x="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 21"/>
              <p:cNvSpPr>
                <a:spLocks/>
              </p:cNvSpPr>
              <p:nvPr/>
            </p:nvSpPr>
            <p:spPr bwMode="auto">
              <a:xfrm>
                <a:off x="2820" y="2248"/>
                <a:ext cx="24" cy="336"/>
              </a:xfrm>
              <a:custGeom>
                <a:avLst/>
                <a:gdLst>
                  <a:gd name="T0" fmla="*/ 50 w 50"/>
                  <a:gd name="T1" fmla="*/ 25 h 701"/>
                  <a:gd name="T2" fmla="*/ 25 w 50"/>
                  <a:gd name="T3" fmla="*/ 0 h 701"/>
                  <a:gd name="T4" fmla="*/ 0 w 50"/>
                  <a:gd name="T5" fmla="*/ 25 h 701"/>
                  <a:gd name="T6" fmla="*/ 0 w 50"/>
                  <a:gd name="T7" fmla="*/ 701 h 701"/>
                  <a:gd name="T8" fmla="*/ 50 w 50"/>
                  <a:gd name="T9" fmla="*/ 701 h 701"/>
                  <a:gd name="T10" fmla="*/ 50 w 50"/>
                  <a:gd name="T11" fmla="*/ 25 h 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701">
                    <a:moveTo>
                      <a:pt x="50" y="25"/>
                    </a:moveTo>
                    <a:cubicBezTo>
                      <a:pt x="50" y="11"/>
                      <a:pt x="39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lnTo>
                      <a:pt x="0" y="701"/>
                    </a:lnTo>
                    <a:lnTo>
                      <a:pt x="50" y="701"/>
                    </a:lnTo>
                    <a:lnTo>
                      <a:pt x="50" y="25"/>
                    </a:ln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22"/>
              <p:cNvSpPr>
                <a:spLocks/>
              </p:cNvSpPr>
              <p:nvPr/>
            </p:nvSpPr>
            <p:spPr bwMode="auto">
              <a:xfrm>
                <a:off x="2851" y="2232"/>
                <a:ext cx="239" cy="217"/>
              </a:xfrm>
              <a:custGeom>
                <a:avLst/>
                <a:gdLst>
                  <a:gd name="T0" fmla="*/ 44 w 496"/>
                  <a:gd name="T1" fmla="*/ 9 h 452"/>
                  <a:gd name="T2" fmla="*/ 9 w 496"/>
                  <a:gd name="T3" fmla="*/ 11 h 452"/>
                  <a:gd name="T4" fmla="*/ 11 w 496"/>
                  <a:gd name="T5" fmla="*/ 46 h 452"/>
                  <a:gd name="T6" fmla="*/ 460 w 496"/>
                  <a:gd name="T7" fmla="*/ 452 h 452"/>
                  <a:gd name="T8" fmla="*/ 496 w 496"/>
                  <a:gd name="T9" fmla="*/ 416 h 452"/>
                  <a:gd name="T10" fmla="*/ 44 w 496"/>
                  <a:gd name="T11" fmla="*/ 9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6" h="452">
                    <a:moveTo>
                      <a:pt x="44" y="9"/>
                    </a:moveTo>
                    <a:cubicBezTo>
                      <a:pt x="34" y="0"/>
                      <a:pt x="18" y="1"/>
                      <a:pt x="9" y="11"/>
                    </a:cubicBezTo>
                    <a:cubicBezTo>
                      <a:pt x="0" y="21"/>
                      <a:pt x="1" y="37"/>
                      <a:pt x="11" y="46"/>
                    </a:cubicBezTo>
                    <a:lnTo>
                      <a:pt x="460" y="452"/>
                    </a:lnTo>
                    <a:lnTo>
                      <a:pt x="496" y="416"/>
                    </a:lnTo>
                    <a:lnTo>
                      <a:pt x="44" y="9"/>
                    </a:ln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23"/>
              <p:cNvSpPr>
                <a:spLocks/>
              </p:cNvSpPr>
              <p:nvPr/>
            </p:nvSpPr>
            <p:spPr bwMode="auto">
              <a:xfrm>
                <a:off x="3072" y="2432"/>
                <a:ext cx="61" cy="56"/>
              </a:xfrm>
              <a:custGeom>
                <a:avLst/>
                <a:gdLst>
                  <a:gd name="T0" fmla="*/ 115 w 126"/>
                  <a:gd name="T1" fmla="*/ 72 h 116"/>
                  <a:gd name="T2" fmla="*/ 36 w 126"/>
                  <a:gd name="T3" fmla="*/ 0 h 116"/>
                  <a:gd name="T4" fmla="*/ 0 w 126"/>
                  <a:gd name="T5" fmla="*/ 36 h 116"/>
                  <a:gd name="T6" fmla="*/ 82 w 126"/>
                  <a:gd name="T7" fmla="*/ 109 h 116"/>
                  <a:gd name="T8" fmla="*/ 99 w 126"/>
                  <a:gd name="T9" fmla="*/ 116 h 116"/>
                  <a:gd name="T10" fmla="*/ 117 w 126"/>
                  <a:gd name="T11" fmla="*/ 108 h 116"/>
                  <a:gd name="T12" fmla="*/ 115 w 126"/>
                  <a:gd name="T13" fmla="*/ 7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6">
                    <a:moveTo>
                      <a:pt x="115" y="72"/>
                    </a:moveTo>
                    <a:lnTo>
                      <a:pt x="36" y="0"/>
                    </a:lnTo>
                    <a:lnTo>
                      <a:pt x="0" y="36"/>
                    </a:lnTo>
                    <a:lnTo>
                      <a:pt x="82" y="109"/>
                    </a:lnTo>
                    <a:cubicBezTo>
                      <a:pt x="87" y="114"/>
                      <a:pt x="93" y="116"/>
                      <a:pt x="99" y="116"/>
                    </a:cubicBezTo>
                    <a:cubicBezTo>
                      <a:pt x="105" y="116"/>
                      <a:pt x="112" y="113"/>
                      <a:pt x="117" y="108"/>
                    </a:cubicBezTo>
                    <a:cubicBezTo>
                      <a:pt x="126" y="97"/>
                      <a:pt x="126" y="82"/>
                      <a:pt x="115" y="72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24"/>
              <p:cNvSpPr>
                <a:spLocks/>
              </p:cNvSpPr>
              <p:nvPr/>
            </p:nvSpPr>
            <p:spPr bwMode="auto">
              <a:xfrm>
                <a:off x="2531" y="2432"/>
                <a:ext cx="60" cy="56"/>
              </a:xfrm>
              <a:custGeom>
                <a:avLst/>
                <a:gdLst>
                  <a:gd name="T0" fmla="*/ 11 w 126"/>
                  <a:gd name="T1" fmla="*/ 72 h 116"/>
                  <a:gd name="T2" fmla="*/ 9 w 126"/>
                  <a:gd name="T3" fmla="*/ 108 h 116"/>
                  <a:gd name="T4" fmla="*/ 28 w 126"/>
                  <a:gd name="T5" fmla="*/ 116 h 116"/>
                  <a:gd name="T6" fmla="*/ 44 w 126"/>
                  <a:gd name="T7" fmla="*/ 109 h 116"/>
                  <a:gd name="T8" fmla="*/ 126 w 126"/>
                  <a:gd name="T9" fmla="*/ 36 h 116"/>
                  <a:gd name="T10" fmla="*/ 91 w 126"/>
                  <a:gd name="T11" fmla="*/ 0 h 116"/>
                  <a:gd name="T12" fmla="*/ 11 w 126"/>
                  <a:gd name="T13" fmla="*/ 7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6">
                    <a:moveTo>
                      <a:pt x="11" y="72"/>
                    </a:moveTo>
                    <a:cubicBezTo>
                      <a:pt x="1" y="82"/>
                      <a:pt x="0" y="97"/>
                      <a:pt x="9" y="108"/>
                    </a:cubicBezTo>
                    <a:cubicBezTo>
                      <a:pt x="14" y="113"/>
                      <a:pt x="21" y="116"/>
                      <a:pt x="28" y="116"/>
                    </a:cubicBezTo>
                    <a:cubicBezTo>
                      <a:pt x="34" y="116"/>
                      <a:pt x="40" y="114"/>
                      <a:pt x="44" y="109"/>
                    </a:cubicBezTo>
                    <a:lnTo>
                      <a:pt x="126" y="36"/>
                    </a:lnTo>
                    <a:lnTo>
                      <a:pt x="91" y="0"/>
                    </a:lnTo>
                    <a:lnTo>
                      <a:pt x="11" y="72"/>
                    </a:lnTo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 25"/>
              <p:cNvSpPr>
                <a:spLocks/>
              </p:cNvSpPr>
              <p:nvPr/>
            </p:nvSpPr>
            <p:spPr bwMode="auto">
              <a:xfrm>
                <a:off x="2574" y="2232"/>
                <a:ext cx="238" cy="217"/>
              </a:xfrm>
              <a:custGeom>
                <a:avLst/>
                <a:gdLst>
                  <a:gd name="T0" fmla="*/ 486 w 495"/>
                  <a:gd name="T1" fmla="*/ 11 h 452"/>
                  <a:gd name="T2" fmla="*/ 451 w 495"/>
                  <a:gd name="T3" fmla="*/ 9 h 452"/>
                  <a:gd name="T4" fmla="*/ 0 w 495"/>
                  <a:gd name="T5" fmla="*/ 416 h 452"/>
                  <a:gd name="T6" fmla="*/ 35 w 495"/>
                  <a:gd name="T7" fmla="*/ 452 h 452"/>
                  <a:gd name="T8" fmla="*/ 484 w 495"/>
                  <a:gd name="T9" fmla="*/ 46 h 452"/>
                  <a:gd name="T10" fmla="*/ 486 w 495"/>
                  <a:gd name="T11" fmla="*/ 11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5" h="452">
                    <a:moveTo>
                      <a:pt x="486" y="11"/>
                    </a:moveTo>
                    <a:cubicBezTo>
                      <a:pt x="477" y="1"/>
                      <a:pt x="461" y="0"/>
                      <a:pt x="451" y="9"/>
                    </a:cubicBezTo>
                    <a:lnTo>
                      <a:pt x="0" y="416"/>
                    </a:lnTo>
                    <a:lnTo>
                      <a:pt x="35" y="452"/>
                    </a:lnTo>
                    <a:lnTo>
                      <a:pt x="484" y="46"/>
                    </a:lnTo>
                    <a:cubicBezTo>
                      <a:pt x="494" y="37"/>
                      <a:pt x="495" y="21"/>
                      <a:pt x="486" y="11"/>
                    </a:cubicBez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26"/>
              <p:cNvSpPr>
                <a:spLocks/>
              </p:cNvSpPr>
              <p:nvPr/>
            </p:nvSpPr>
            <p:spPr bwMode="auto">
              <a:xfrm>
                <a:off x="2761" y="2229"/>
                <a:ext cx="141" cy="86"/>
              </a:xfrm>
              <a:custGeom>
                <a:avLst/>
                <a:gdLst>
                  <a:gd name="T0" fmla="*/ 294 w 294"/>
                  <a:gd name="T1" fmla="*/ 0 h 179"/>
                  <a:gd name="T2" fmla="*/ 0 w 294"/>
                  <a:gd name="T3" fmla="*/ 0 h 179"/>
                  <a:gd name="T4" fmla="*/ 0 w 294"/>
                  <a:gd name="T5" fmla="*/ 85 h 179"/>
                  <a:gd name="T6" fmla="*/ 43 w 294"/>
                  <a:gd name="T7" fmla="*/ 146 h 179"/>
                  <a:gd name="T8" fmla="*/ 251 w 294"/>
                  <a:gd name="T9" fmla="*/ 146 h 179"/>
                  <a:gd name="T10" fmla="*/ 294 w 294"/>
                  <a:gd name="T11" fmla="*/ 85 h 179"/>
                  <a:gd name="T12" fmla="*/ 294 w 294"/>
                  <a:gd name="T13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4" h="179">
                    <a:moveTo>
                      <a:pt x="294" y="0"/>
                    </a:moveTo>
                    <a:lnTo>
                      <a:pt x="0" y="0"/>
                    </a:lnTo>
                    <a:lnTo>
                      <a:pt x="0" y="85"/>
                    </a:lnTo>
                    <a:cubicBezTo>
                      <a:pt x="0" y="107"/>
                      <a:pt x="15" y="129"/>
                      <a:pt x="43" y="146"/>
                    </a:cubicBezTo>
                    <a:cubicBezTo>
                      <a:pt x="101" y="179"/>
                      <a:pt x="194" y="179"/>
                      <a:pt x="251" y="146"/>
                    </a:cubicBezTo>
                    <a:cubicBezTo>
                      <a:pt x="280" y="129"/>
                      <a:pt x="294" y="107"/>
                      <a:pt x="294" y="85"/>
                    </a:cubicBez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27"/>
              <p:cNvSpPr>
                <a:spLocks/>
              </p:cNvSpPr>
              <p:nvPr/>
            </p:nvSpPr>
            <p:spPr bwMode="auto">
              <a:xfrm>
                <a:off x="2754" y="2185"/>
                <a:ext cx="156" cy="89"/>
              </a:xfrm>
              <a:custGeom>
                <a:avLst/>
                <a:gdLst>
                  <a:gd name="T0" fmla="*/ 266 w 324"/>
                  <a:gd name="T1" fmla="*/ 33 h 187"/>
                  <a:gd name="T2" fmla="*/ 266 w 324"/>
                  <a:gd name="T3" fmla="*/ 154 h 187"/>
                  <a:gd name="T4" fmla="*/ 58 w 324"/>
                  <a:gd name="T5" fmla="*/ 154 h 187"/>
                  <a:gd name="T6" fmla="*/ 58 w 324"/>
                  <a:gd name="T7" fmla="*/ 33 h 187"/>
                  <a:gd name="T8" fmla="*/ 266 w 324"/>
                  <a:gd name="T9" fmla="*/ 33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4" h="187">
                    <a:moveTo>
                      <a:pt x="266" y="33"/>
                    </a:moveTo>
                    <a:cubicBezTo>
                      <a:pt x="323" y="66"/>
                      <a:pt x="324" y="120"/>
                      <a:pt x="266" y="154"/>
                    </a:cubicBezTo>
                    <a:cubicBezTo>
                      <a:pt x="209" y="187"/>
                      <a:pt x="116" y="187"/>
                      <a:pt x="58" y="154"/>
                    </a:cubicBezTo>
                    <a:cubicBezTo>
                      <a:pt x="1" y="120"/>
                      <a:pt x="0" y="66"/>
                      <a:pt x="58" y="33"/>
                    </a:cubicBezTo>
                    <a:cubicBezTo>
                      <a:pt x="115" y="0"/>
                      <a:pt x="208" y="0"/>
                      <a:pt x="266" y="33"/>
                    </a:cubicBezTo>
                    <a:close/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 28"/>
              <p:cNvSpPr>
                <a:spLocks/>
              </p:cNvSpPr>
              <p:nvPr/>
            </p:nvSpPr>
            <p:spPr bwMode="auto">
              <a:xfrm>
                <a:off x="2812" y="734"/>
                <a:ext cx="40" cy="1504"/>
              </a:xfrm>
              <a:custGeom>
                <a:avLst/>
                <a:gdLst>
                  <a:gd name="T0" fmla="*/ 0 w 84"/>
                  <a:gd name="T1" fmla="*/ 0 h 3132"/>
                  <a:gd name="T2" fmla="*/ 0 w 84"/>
                  <a:gd name="T3" fmla="*/ 3105 h 3132"/>
                  <a:gd name="T4" fmla="*/ 13 w 84"/>
                  <a:gd name="T5" fmla="*/ 3122 h 3132"/>
                  <a:gd name="T6" fmla="*/ 72 w 84"/>
                  <a:gd name="T7" fmla="*/ 3122 h 3132"/>
                  <a:gd name="T8" fmla="*/ 84 w 84"/>
                  <a:gd name="T9" fmla="*/ 3105 h 3132"/>
                  <a:gd name="T10" fmla="*/ 84 w 84"/>
                  <a:gd name="T11" fmla="*/ 0 h 3132"/>
                  <a:gd name="T12" fmla="*/ 0 w 84"/>
                  <a:gd name="T13" fmla="*/ 0 h 3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3132">
                    <a:moveTo>
                      <a:pt x="0" y="0"/>
                    </a:moveTo>
                    <a:lnTo>
                      <a:pt x="0" y="3105"/>
                    </a:lnTo>
                    <a:cubicBezTo>
                      <a:pt x="0" y="3111"/>
                      <a:pt x="5" y="3118"/>
                      <a:pt x="13" y="3122"/>
                    </a:cubicBezTo>
                    <a:cubicBezTo>
                      <a:pt x="29" y="3132"/>
                      <a:pt x="55" y="3132"/>
                      <a:pt x="72" y="3122"/>
                    </a:cubicBezTo>
                    <a:cubicBezTo>
                      <a:pt x="80" y="3118"/>
                      <a:pt x="84" y="3111"/>
                      <a:pt x="84" y="3105"/>
                    </a:cubicBezTo>
                    <a:lnTo>
                      <a:pt x="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29"/>
              <p:cNvSpPr>
                <a:spLocks/>
              </p:cNvSpPr>
              <p:nvPr/>
            </p:nvSpPr>
            <p:spPr bwMode="auto">
              <a:xfrm>
                <a:off x="2178" y="328"/>
                <a:ext cx="1296" cy="2036"/>
              </a:xfrm>
              <a:custGeom>
                <a:avLst/>
                <a:gdLst>
                  <a:gd name="T0" fmla="*/ 0 w 1296"/>
                  <a:gd name="T1" fmla="*/ 753 h 2036"/>
                  <a:gd name="T2" fmla="*/ 0 w 1296"/>
                  <a:gd name="T3" fmla="*/ 2036 h 2036"/>
                  <a:gd name="T4" fmla="*/ 1296 w 1296"/>
                  <a:gd name="T5" fmla="*/ 1288 h 2036"/>
                  <a:gd name="T6" fmla="*/ 1296 w 1296"/>
                  <a:gd name="T7" fmla="*/ 0 h 2036"/>
                  <a:gd name="T8" fmla="*/ 0 w 1296"/>
                  <a:gd name="T9" fmla="*/ 753 h 20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6" h="2036">
                    <a:moveTo>
                      <a:pt x="0" y="753"/>
                    </a:moveTo>
                    <a:lnTo>
                      <a:pt x="0" y="2036"/>
                    </a:lnTo>
                    <a:lnTo>
                      <a:pt x="1296" y="1288"/>
                    </a:lnTo>
                    <a:lnTo>
                      <a:pt x="1296" y="0"/>
                    </a:lnTo>
                    <a:lnTo>
                      <a:pt x="0" y="753"/>
                    </a:lnTo>
                    <a:close/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 30"/>
              <p:cNvSpPr>
                <a:spLocks/>
              </p:cNvSpPr>
              <p:nvPr/>
            </p:nvSpPr>
            <p:spPr bwMode="auto">
              <a:xfrm>
                <a:off x="2226" y="411"/>
                <a:ext cx="1200" cy="1870"/>
              </a:xfrm>
              <a:custGeom>
                <a:avLst/>
                <a:gdLst>
                  <a:gd name="T0" fmla="*/ 0 w 1200"/>
                  <a:gd name="T1" fmla="*/ 698 h 1870"/>
                  <a:gd name="T2" fmla="*/ 1200 w 1200"/>
                  <a:gd name="T3" fmla="*/ 0 h 1870"/>
                  <a:gd name="T4" fmla="*/ 1200 w 1200"/>
                  <a:gd name="T5" fmla="*/ 1178 h 1870"/>
                  <a:gd name="T6" fmla="*/ 0 w 1200"/>
                  <a:gd name="T7" fmla="*/ 1870 h 1870"/>
                  <a:gd name="T8" fmla="*/ 0 w 1200"/>
                  <a:gd name="T9" fmla="*/ 698 h 1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0" h="1870">
                    <a:moveTo>
                      <a:pt x="0" y="698"/>
                    </a:moveTo>
                    <a:lnTo>
                      <a:pt x="1200" y="0"/>
                    </a:lnTo>
                    <a:lnTo>
                      <a:pt x="1200" y="1178"/>
                    </a:lnTo>
                    <a:lnTo>
                      <a:pt x="0" y="1870"/>
                    </a:lnTo>
                    <a:lnTo>
                      <a:pt x="0" y="698"/>
                    </a:lnTo>
                    <a:close/>
                  </a:path>
                </a:pathLst>
              </a:custGeom>
              <a:solidFill>
                <a:srgbClr val="FAF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 31"/>
              <p:cNvSpPr>
                <a:spLocks/>
              </p:cNvSpPr>
              <p:nvPr/>
            </p:nvSpPr>
            <p:spPr bwMode="auto">
              <a:xfrm>
                <a:off x="2178" y="1049"/>
                <a:ext cx="73" cy="107"/>
              </a:xfrm>
              <a:custGeom>
                <a:avLst/>
                <a:gdLst>
                  <a:gd name="T0" fmla="*/ 76 w 152"/>
                  <a:gd name="T1" fmla="*/ 24 h 223"/>
                  <a:gd name="T2" fmla="*/ 152 w 152"/>
                  <a:gd name="T3" fmla="*/ 155 h 223"/>
                  <a:gd name="T4" fmla="*/ 76 w 152"/>
                  <a:gd name="T5" fmla="*/ 199 h 223"/>
                  <a:gd name="T6" fmla="*/ 0 w 152"/>
                  <a:gd name="T7" fmla="*/ 68 h 223"/>
                  <a:gd name="T8" fmla="*/ 76 w 152"/>
                  <a:gd name="T9" fmla="*/ 24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223">
                    <a:moveTo>
                      <a:pt x="76" y="24"/>
                    </a:moveTo>
                    <a:cubicBezTo>
                      <a:pt x="118" y="49"/>
                      <a:pt x="152" y="107"/>
                      <a:pt x="152" y="155"/>
                    </a:cubicBezTo>
                    <a:cubicBezTo>
                      <a:pt x="152" y="203"/>
                      <a:pt x="118" y="223"/>
                      <a:pt x="76" y="199"/>
                    </a:cubicBezTo>
                    <a:cubicBezTo>
                      <a:pt x="34" y="174"/>
                      <a:pt x="0" y="116"/>
                      <a:pt x="0" y="68"/>
                    </a:cubicBezTo>
                    <a:cubicBezTo>
                      <a:pt x="0" y="20"/>
                      <a:pt x="34" y="0"/>
                      <a:pt x="76" y="24"/>
                    </a:cubicBez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 32"/>
              <p:cNvSpPr>
                <a:spLocks/>
              </p:cNvSpPr>
              <p:nvPr/>
            </p:nvSpPr>
            <p:spPr bwMode="auto">
              <a:xfrm>
                <a:off x="2189" y="300"/>
                <a:ext cx="1365" cy="847"/>
              </a:xfrm>
              <a:custGeom>
                <a:avLst/>
                <a:gdLst>
                  <a:gd name="T0" fmla="*/ 2842 w 2843"/>
                  <a:gd name="T1" fmla="*/ 133 h 1763"/>
                  <a:gd name="T2" fmla="*/ 2842 w 2843"/>
                  <a:gd name="T3" fmla="*/ 127 h 1763"/>
                  <a:gd name="T4" fmla="*/ 2841 w 2843"/>
                  <a:gd name="T5" fmla="*/ 123 h 1763"/>
                  <a:gd name="T6" fmla="*/ 2840 w 2843"/>
                  <a:gd name="T7" fmla="*/ 114 h 1763"/>
                  <a:gd name="T8" fmla="*/ 2838 w 2843"/>
                  <a:gd name="T9" fmla="*/ 107 h 1763"/>
                  <a:gd name="T10" fmla="*/ 2837 w 2843"/>
                  <a:gd name="T11" fmla="*/ 103 h 1763"/>
                  <a:gd name="T12" fmla="*/ 2834 w 2843"/>
                  <a:gd name="T13" fmla="*/ 95 h 1763"/>
                  <a:gd name="T14" fmla="*/ 2831 w 2843"/>
                  <a:gd name="T15" fmla="*/ 88 h 1763"/>
                  <a:gd name="T16" fmla="*/ 2830 w 2843"/>
                  <a:gd name="T17" fmla="*/ 84 h 1763"/>
                  <a:gd name="T18" fmla="*/ 2826 w 2843"/>
                  <a:gd name="T19" fmla="*/ 76 h 1763"/>
                  <a:gd name="T20" fmla="*/ 2822 w 2843"/>
                  <a:gd name="T21" fmla="*/ 68 h 1763"/>
                  <a:gd name="T22" fmla="*/ 2818 w 2843"/>
                  <a:gd name="T23" fmla="*/ 62 h 1763"/>
                  <a:gd name="T24" fmla="*/ 2810 w 2843"/>
                  <a:gd name="T25" fmla="*/ 50 h 1763"/>
                  <a:gd name="T26" fmla="*/ 2806 w 2843"/>
                  <a:gd name="T27" fmla="*/ 45 h 1763"/>
                  <a:gd name="T28" fmla="*/ 2803 w 2843"/>
                  <a:gd name="T29" fmla="*/ 42 h 1763"/>
                  <a:gd name="T30" fmla="*/ 2797 w 2843"/>
                  <a:gd name="T31" fmla="*/ 35 h 1763"/>
                  <a:gd name="T32" fmla="*/ 2791 w 2843"/>
                  <a:gd name="T33" fmla="*/ 29 h 1763"/>
                  <a:gd name="T34" fmla="*/ 2788 w 2843"/>
                  <a:gd name="T35" fmla="*/ 26 h 1763"/>
                  <a:gd name="T36" fmla="*/ 2782 w 2843"/>
                  <a:gd name="T37" fmla="*/ 21 h 1763"/>
                  <a:gd name="T38" fmla="*/ 2775 w 2843"/>
                  <a:gd name="T39" fmla="*/ 16 h 1763"/>
                  <a:gd name="T40" fmla="*/ 2771 w 2843"/>
                  <a:gd name="T41" fmla="*/ 13 h 1763"/>
                  <a:gd name="T42" fmla="*/ 2765 w 2843"/>
                  <a:gd name="T43" fmla="*/ 9 h 1763"/>
                  <a:gd name="T44" fmla="*/ 2759 w 2843"/>
                  <a:gd name="T45" fmla="*/ 6 h 1763"/>
                  <a:gd name="T46" fmla="*/ 2753 w 2843"/>
                  <a:gd name="T47" fmla="*/ 4 h 1763"/>
                  <a:gd name="T48" fmla="*/ 2750 w 2843"/>
                  <a:gd name="T49" fmla="*/ 3 h 1763"/>
                  <a:gd name="T50" fmla="*/ 2744 w 2843"/>
                  <a:gd name="T51" fmla="*/ 1 h 1763"/>
                  <a:gd name="T52" fmla="*/ 2738 w 2843"/>
                  <a:gd name="T53" fmla="*/ 0 h 1763"/>
                  <a:gd name="T54" fmla="*/ 2733 w 2843"/>
                  <a:gd name="T55" fmla="*/ 0 h 1763"/>
                  <a:gd name="T56" fmla="*/ 2729 w 2843"/>
                  <a:gd name="T57" fmla="*/ 0 h 1763"/>
                  <a:gd name="T58" fmla="*/ 2724 w 2843"/>
                  <a:gd name="T59" fmla="*/ 1 h 1763"/>
                  <a:gd name="T60" fmla="*/ 2713 w 2843"/>
                  <a:gd name="T61" fmla="*/ 5 h 1763"/>
                  <a:gd name="T62" fmla="*/ 11 w 2843"/>
                  <a:gd name="T63" fmla="*/ 1574 h 1763"/>
                  <a:gd name="T64" fmla="*/ 19 w 2843"/>
                  <a:gd name="T65" fmla="*/ 1573 h 1763"/>
                  <a:gd name="T66" fmla="*/ 31 w 2843"/>
                  <a:gd name="T67" fmla="*/ 1574 h 1763"/>
                  <a:gd name="T68" fmla="*/ 39 w 2843"/>
                  <a:gd name="T69" fmla="*/ 1576 h 1763"/>
                  <a:gd name="T70" fmla="*/ 54 w 2843"/>
                  <a:gd name="T71" fmla="*/ 1583 h 1763"/>
                  <a:gd name="T72" fmla="*/ 69 w 2843"/>
                  <a:gd name="T73" fmla="*/ 1594 h 1763"/>
                  <a:gd name="T74" fmla="*/ 77 w 2843"/>
                  <a:gd name="T75" fmla="*/ 1601 h 1763"/>
                  <a:gd name="T76" fmla="*/ 90 w 2843"/>
                  <a:gd name="T77" fmla="*/ 1615 h 1763"/>
                  <a:gd name="T78" fmla="*/ 97 w 2843"/>
                  <a:gd name="T79" fmla="*/ 1623 h 1763"/>
                  <a:gd name="T80" fmla="*/ 107 w 2843"/>
                  <a:gd name="T81" fmla="*/ 1639 h 1763"/>
                  <a:gd name="T82" fmla="*/ 113 w 2843"/>
                  <a:gd name="T83" fmla="*/ 1649 h 1763"/>
                  <a:gd name="T84" fmla="*/ 121 w 2843"/>
                  <a:gd name="T85" fmla="*/ 1667 h 1763"/>
                  <a:gd name="T86" fmla="*/ 124 w 2843"/>
                  <a:gd name="T87" fmla="*/ 1677 h 1763"/>
                  <a:gd name="T88" fmla="*/ 128 w 2843"/>
                  <a:gd name="T89" fmla="*/ 1696 h 1763"/>
                  <a:gd name="T90" fmla="*/ 129 w 2843"/>
                  <a:gd name="T91" fmla="*/ 1705 h 1763"/>
                  <a:gd name="T92" fmla="*/ 129 w 2843"/>
                  <a:gd name="T93" fmla="*/ 1723 h 1763"/>
                  <a:gd name="T94" fmla="*/ 127 w 2843"/>
                  <a:gd name="T95" fmla="*/ 1738 h 1763"/>
                  <a:gd name="T96" fmla="*/ 124 w 2843"/>
                  <a:gd name="T97" fmla="*/ 1745 h 1763"/>
                  <a:gd name="T98" fmla="*/ 117 w 2843"/>
                  <a:gd name="T99" fmla="*/ 1755 h 1763"/>
                  <a:gd name="T100" fmla="*/ 112 w 2843"/>
                  <a:gd name="T101" fmla="*/ 1760 h 1763"/>
                  <a:gd name="T102" fmla="*/ 2825 w 2843"/>
                  <a:gd name="T103" fmla="*/ 187 h 1763"/>
                  <a:gd name="T104" fmla="*/ 2830 w 2843"/>
                  <a:gd name="T105" fmla="*/ 182 h 1763"/>
                  <a:gd name="T106" fmla="*/ 2834 w 2843"/>
                  <a:gd name="T107" fmla="*/ 177 h 1763"/>
                  <a:gd name="T108" fmla="*/ 2837 w 2843"/>
                  <a:gd name="T109" fmla="*/ 171 h 1763"/>
                  <a:gd name="T110" fmla="*/ 2840 w 2843"/>
                  <a:gd name="T111" fmla="*/ 165 h 1763"/>
                  <a:gd name="T112" fmla="*/ 2841 w 2843"/>
                  <a:gd name="T113" fmla="*/ 158 h 1763"/>
                  <a:gd name="T114" fmla="*/ 2842 w 2843"/>
                  <a:gd name="T115" fmla="*/ 152 h 1763"/>
                  <a:gd name="T116" fmla="*/ 2843 w 2843"/>
                  <a:gd name="T117" fmla="*/ 149 h 1763"/>
                  <a:gd name="T118" fmla="*/ 2843 w 2843"/>
                  <a:gd name="T119" fmla="*/ 141 h 1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43" h="1763">
                    <a:moveTo>
                      <a:pt x="2843" y="138"/>
                    </a:moveTo>
                    <a:lnTo>
                      <a:pt x="2843" y="134"/>
                    </a:lnTo>
                    <a:lnTo>
                      <a:pt x="2842" y="133"/>
                    </a:lnTo>
                    <a:lnTo>
                      <a:pt x="2842" y="132"/>
                    </a:lnTo>
                    <a:lnTo>
                      <a:pt x="2842" y="131"/>
                    </a:lnTo>
                    <a:lnTo>
                      <a:pt x="2842" y="127"/>
                    </a:lnTo>
                    <a:lnTo>
                      <a:pt x="2841" y="123"/>
                    </a:lnTo>
                    <a:lnTo>
                      <a:pt x="2841" y="123"/>
                    </a:lnTo>
                    <a:lnTo>
                      <a:pt x="2841" y="123"/>
                    </a:lnTo>
                    <a:lnTo>
                      <a:pt x="2841" y="119"/>
                    </a:lnTo>
                    <a:lnTo>
                      <a:pt x="2840" y="115"/>
                    </a:lnTo>
                    <a:lnTo>
                      <a:pt x="2840" y="114"/>
                    </a:lnTo>
                    <a:lnTo>
                      <a:pt x="2839" y="113"/>
                    </a:lnTo>
                    <a:lnTo>
                      <a:pt x="2839" y="111"/>
                    </a:lnTo>
                    <a:lnTo>
                      <a:pt x="2838" y="107"/>
                    </a:lnTo>
                    <a:lnTo>
                      <a:pt x="2837" y="104"/>
                    </a:lnTo>
                    <a:lnTo>
                      <a:pt x="2837" y="104"/>
                    </a:lnTo>
                    <a:lnTo>
                      <a:pt x="2837" y="103"/>
                    </a:lnTo>
                    <a:lnTo>
                      <a:pt x="2835" y="99"/>
                    </a:lnTo>
                    <a:lnTo>
                      <a:pt x="2834" y="95"/>
                    </a:lnTo>
                    <a:lnTo>
                      <a:pt x="2834" y="95"/>
                    </a:lnTo>
                    <a:lnTo>
                      <a:pt x="2834" y="94"/>
                    </a:lnTo>
                    <a:lnTo>
                      <a:pt x="2833" y="92"/>
                    </a:lnTo>
                    <a:lnTo>
                      <a:pt x="2831" y="88"/>
                    </a:lnTo>
                    <a:lnTo>
                      <a:pt x="2830" y="85"/>
                    </a:lnTo>
                    <a:lnTo>
                      <a:pt x="2830" y="85"/>
                    </a:lnTo>
                    <a:lnTo>
                      <a:pt x="2830" y="84"/>
                    </a:lnTo>
                    <a:lnTo>
                      <a:pt x="2828" y="81"/>
                    </a:lnTo>
                    <a:lnTo>
                      <a:pt x="2826" y="77"/>
                    </a:lnTo>
                    <a:lnTo>
                      <a:pt x="2826" y="76"/>
                    </a:lnTo>
                    <a:lnTo>
                      <a:pt x="2825" y="75"/>
                    </a:lnTo>
                    <a:lnTo>
                      <a:pt x="2824" y="72"/>
                    </a:lnTo>
                    <a:lnTo>
                      <a:pt x="2822" y="68"/>
                    </a:lnTo>
                    <a:lnTo>
                      <a:pt x="2820" y="66"/>
                    </a:lnTo>
                    <a:lnTo>
                      <a:pt x="2820" y="66"/>
                    </a:lnTo>
                    <a:lnTo>
                      <a:pt x="2818" y="62"/>
                    </a:lnTo>
                    <a:cubicBezTo>
                      <a:pt x="2817" y="61"/>
                      <a:pt x="2816" y="59"/>
                      <a:pt x="2815" y="57"/>
                    </a:cubicBezTo>
                    <a:lnTo>
                      <a:pt x="2814" y="57"/>
                    </a:lnTo>
                    <a:cubicBezTo>
                      <a:pt x="2813" y="54"/>
                      <a:pt x="2811" y="52"/>
                      <a:pt x="2810" y="50"/>
                    </a:cubicBezTo>
                    <a:lnTo>
                      <a:pt x="2810" y="50"/>
                    </a:lnTo>
                    <a:lnTo>
                      <a:pt x="2810" y="50"/>
                    </a:lnTo>
                    <a:lnTo>
                      <a:pt x="2806" y="45"/>
                    </a:lnTo>
                    <a:lnTo>
                      <a:pt x="2803" y="42"/>
                    </a:lnTo>
                    <a:lnTo>
                      <a:pt x="2803" y="42"/>
                    </a:lnTo>
                    <a:lnTo>
                      <a:pt x="2803" y="42"/>
                    </a:lnTo>
                    <a:lnTo>
                      <a:pt x="2800" y="38"/>
                    </a:lnTo>
                    <a:lnTo>
                      <a:pt x="2797" y="35"/>
                    </a:lnTo>
                    <a:lnTo>
                      <a:pt x="2797" y="35"/>
                    </a:lnTo>
                    <a:lnTo>
                      <a:pt x="2796" y="34"/>
                    </a:lnTo>
                    <a:lnTo>
                      <a:pt x="2794" y="32"/>
                    </a:lnTo>
                    <a:lnTo>
                      <a:pt x="2791" y="29"/>
                    </a:lnTo>
                    <a:lnTo>
                      <a:pt x="2790" y="28"/>
                    </a:lnTo>
                    <a:lnTo>
                      <a:pt x="2789" y="27"/>
                    </a:lnTo>
                    <a:lnTo>
                      <a:pt x="2788" y="26"/>
                    </a:lnTo>
                    <a:lnTo>
                      <a:pt x="2784" y="23"/>
                    </a:lnTo>
                    <a:lnTo>
                      <a:pt x="2783" y="21"/>
                    </a:lnTo>
                    <a:lnTo>
                      <a:pt x="2782" y="21"/>
                    </a:lnTo>
                    <a:lnTo>
                      <a:pt x="2781" y="20"/>
                    </a:lnTo>
                    <a:lnTo>
                      <a:pt x="2778" y="17"/>
                    </a:lnTo>
                    <a:lnTo>
                      <a:pt x="2775" y="16"/>
                    </a:lnTo>
                    <a:lnTo>
                      <a:pt x="2775" y="15"/>
                    </a:lnTo>
                    <a:lnTo>
                      <a:pt x="2774" y="15"/>
                    </a:lnTo>
                    <a:lnTo>
                      <a:pt x="2771" y="13"/>
                    </a:lnTo>
                    <a:lnTo>
                      <a:pt x="2768" y="11"/>
                    </a:lnTo>
                    <a:lnTo>
                      <a:pt x="2767" y="10"/>
                    </a:lnTo>
                    <a:lnTo>
                      <a:pt x="2765" y="9"/>
                    </a:lnTo>
                    <a:lnTo>
                      <a:pt x="2762" y="8"/>
                    </a:lnTo>
                    <a:lnTo>
                      <a:pt x="2760" y="7"/>
                    </a:lnTo>
                    <a:lnTo>
                      <a:pt x="2759" y="6"/>
                    </a:lnTo>
                    <a:lnTo>
                      <a:pt x="2759" y="6"/>
                    </a:lnTo>
                    <a:lnTo>
                      <a:pt x="2756" y="5"/>
                    </a:lnTo>
                    <a:lnTo>
                      <a:pt x="2753" y="4"/>
                    </a:lnTo>
                    <a:lnTo>
                      <a:pt x="2752" y="3"/>
                    </a:lnTo>
                    <a:lnTo>
                      <a:pt x="2752" y="3"/>
                    </a:lnTo>
                    <a:lnTo>
                      <a:pt x="2750" y="3"/>
                    </a:lnTo>
                    <a:lnTo>
                      <a:pt x="2746" y="2"/>
                    </a:lnTo>
                    <a:lnTo>
                      <a:pt x="2745" y="1"/>
                    </a:lnTo>
                    <a:lnTo>
                      <a:pt x="2744" y="1"/>
                    </a:lnTo>
                    <a:lnTo>
                      <a:pt x="2743" y="1"/>
                    </a:lnTo>
                    <a:lnTo>
                      <a:pt x="2740" y="1"/>
                    </a:lnTo>
                    <a:lnTo>
                      <a:pt x="2738" y="0"/>
                    </a:lnTo>
                    <a:lnTo>
                      <a:pt x="2737" y="0"/>
                    </a:lnTo>
                    <a:lnTo>
                      <a:pt x="2737" y="0"/>
                    </a:lnTo>
                    <a:lnTo>
                      <a:pt x="2733" y="0"/>
                    </a:lnTo>
                    <a:lnTo>
                      <a:pt x="2732" y="0"/>
                    </a:lnTo>
                    <a:lnTo>
                      <a:pt x="2730" y="0"/>
                    </a:lnTo>
                    <a:lnTo>
                      <a:pt x="2729" y="0"/>
                    </a:lnTo>
                    <a:lnTo>
                      <a:pt x="2725" y="1"/>
                    </a:lnTo>
                    <a:lnTo>
                      <a:pt x="2725" y="1"/>
                    </a:lnTo>
                    <a:lnTo>
                      <a:pt x="2724" y="1"/>
                    </a:lnTo>
                    <a:lnTo>
                      <a:pt x="2720" y="2"/>
                    </a:lnTo>
                    <a:lnTo>
                      <a:pt x="2719" y="2"/>
                    </a:lnTo>
                    <a:cubicBezTo>
                      <a:pt x="2717" y="3"/>
                      <a:pt x="2715" y="4"/>
                      <a:pt x="2713" y="5"/>
                    </a:cubicBezTo>
                    <a:lnTo>
                      <a:pt x="0" y="1578"/>
                    </a:lnTo>
                    <a:cubicBezTo>
                      <a:pt x="2" y="1577"/>
                      <a:pt x="4" y="1576"/>
                      <a:pt x="6" y="1575"/>
                    </a:cubicBezTo>
                    <a:cubicBezTo>
                      <a:pt x="8" y="1575"/>
                      <a:pt x="9" y="1574"/>
                      <a:pt x="11" y="1574"/>
                    </a:cubicBezTo>
                    <a:lnTo>
                      <a:pt x="12" y="1574"/>
                    </a:lnTo>
                    <a:cubicBezTo>
                      <a:pt x="14" y="1573"/>
                      <a:pt x="15" y="1573"/>
                      <a:pt x="17" y="1573"/>
                    </a:cubicBezTo>
                    <a:lnTo>
                      <a:pt x="19" y="1573"/>
                    </a:lnTo>
                    <a:cubicBezTo>
                      <a:pt x="20" y="1573"/>
                      <a:pt x="22" y="1573"/>
                      <a:pt x="24" y="1573"/>
                    </a:cubicBezTo>
                    <a:lnTo>
                      <a:pt x="25" y="1573"/>
                    </a:lnTo>
                    <a:cubicBezTo>
                      <a:pt x="27" y="1573"/>
                      <a:pt x="29" y="1574"/>
                      <a:pt x="31" y="1574"/>
                    </a:cubicBezTo>
                    <a:lnTo>
                      <a:pt x="32" y="1574"/>
                    </a:lnTo>
                    <a:cubicBezTo>
                      <a:pt x="34" y="1575"/>
                      <a:pt x="36" y="1575"/>
                      <a:pt x="39" y="1576"/>
                    </a:cubicBezTo>
                    <a:lnTo>
                      <a:pt x="39" y="1576"/>
                    </a:lnTo>
                    <a:cubicBezTo>
                      <a:pt x="41" y="1577"/>
                      <a:pt x="44" y="1578"/>
                      <a:pt x="46" y="1579"/>
                    </a:cubicBezTo>
                    <a:lnTo>
                      <a:pt x="47" y="1579"/>
                    </a:lnTo>
                    <a:cubicBezTo>
                      <a:pt x="49" y="1581"/>
                      <a:pt x="52" y="1582"/>
                      <a:pt x="54" y="1583"/>
                    </a:cubicBezTo>
                    <a:cubicBezTo>
                      <a:pt x="57" y="1585"/>
                      <a:pt x="59" y="1586"/>
                      <a:pt x="62" y="1588"/>
                    </a:cubicBezTo>
                    <a:lnTo>
                      <a:pt x="62" y="1589"/>
                    </a:lnTo>
                    <a:cubicBezTo>
                      <a:pt x="65" y="1590"/>
                      <a:pt x="67" y="1592"/>
                      <a:pt x="69" y="1594"/>
                    </a:cubicBezTo>
                    <a:lnTo>
                      <a:pt x="70" y="1594"/>
                    </a:lnTo>
                    <a:cubicBezTo>
                      <a:pt x="72" y="1596"/>
                      <a:pt x="74" y="1598"/>
                      <a:pt x="76" y="1600"/>
                    </a:cubicBezTo>
                    <a:lnTo>
                      <a:pt x="77" y="1601"/>
                    </a:lnTo>
                    <a:cubicBezTo>
                      <a:pt x="79" y="1603"/>
                      <a:pt x="81" y="1605"/>
                      <a:pt x="83" y="1607"/>
                    </a:cubicBezTo>
                    <a:lnTo>
                      <a:pt x="84" y="1607"/>
                    </a:lnTo>
                    <a:cubicBezTo>
                      <a:pt x="86" y="1610"/>
                      <a:pt x="88" y="1612"/>
                      <a:pt x="90" y="1615"/>
                    </a:cubicBezTo>
                    <a:lnTo>
                      <a:pt x="90" y="1615"/>
                    </a:lnTo>
                    <a:cubicBezTo>
                      <a:pt x="93" y="1617"/>
                      <a:pt x="95" y="1620"/>
                      <a:pt x="97" y="1623"/>
                    </a:cubicBezTo>
                    <a:lnTo>
                      <a:pt x="97" y="1623"/>
                    </a:lnTo>
                    <a:cubicBezTo>
                      <a:pt x="98" y="1625"/>
                      <a:pt x="100" y="1628"/>
                      <a:pt x="102" y="1630"/>
                    </a:cubicBezTo>
                    <a:cubicBezTo>
                      <a:pt x="103" y="1632"/>
                      <a:pt x="104" y="1634"/>
                      <a:pt x="105" y="1635"/>
                    </a:cubicBezTo>
                    <a:lnTo>
                      <a:pt x="107" y="1639"/>
                    </a:lnTo>
                    <a:lnTo>
                      <a:pt x="109" y="1641"/>
                    </a:lnTo>
                    <a:cubicBezTo>
                      <a:pt x="110" y="1644"/>
                      <a:pt x="111" y="1646"/>
                      <a:pt x="112" y="1648"/>
                    </a:cubicBezTo>
                    <a:lnTo>
                      <a:pt x="113" y="1649"/>
                    </a:lnTo>
                    <a:cubicBezTo>
                      <a:pt x="114" y="1652"/>
                      <a:pt x="116" y="1655"/>
                      <a:pt x="117" y="1658"/>
                    </a:cubicBezTo>
                    <a:lnTo>
                      <a:pt x="117" y="1658"/>
                    </a:lnTo>
                    <a:cubicBezTo>
                      <a:pt x="118" y="1661"/>
                      <a:pt x="120" y="1664"/>
                      <a:pt x="121" y="1667"/>
                    </a:cubicBezTo>
                    <a:lnTo>
                      <a:pt x="121" y="1668"/>
                    </a:lnTo>
                    <a:cubicBezTo>
                      <a:pt x="122" y="1671"/>
                      <a:pt x="123" y="1674"/>
                      <a:pt x="124" y="1677"/>
                    </a:cubicBezTo>
                    <a:lnTo>
                      <a:pt x="124" y="1677"/>
                    </a:lnTo>
                    <a:cubicBezTo>
                      <a:pt x="125" y="1680"/>
                      <a:pt x="126" y="1683"/>
                      <a:pt x="126" y="1686"/>
                    </a:cubicBezTo>
                    <a:lnTo>
                      <a:pt x="127" y="1687"/>
                    </a:lnTo>
                    <a:cubicBezTo>
                      <a:pt x="127" y="1690"/>
                      <a:pt x="128" y="1693"/>
                      <a:pt x="128" y="1696"/>
                    </a:cubicBezTo>
                    <a:lnTo>
                      <a:pt x="128" y="1696"/>
                    </a:lnTo>
                    <a:cubicBezTo>
                      <a:pt x="129" y="1699"/>
                      <a:pt x="129" y="1702"/>
                      <a:pt x="129" y="1705"/>
                    </a:cubicBezTo>
                    <a:lnTo>
                      <a:pt x="129" y="1705"/>
                    </a:lnTo>
                    <a:cubicBezTo>
                      <a:pt x="130" y="1708"/>
                      <a:pt x="130" y="1711"/>
                      <a:pt x="130" y="1714"/>
                    </a:cubicBezTo>
                    <a:cubicBezTo>
                      <a:pt x="130" y="1717"/>
                      <a:pt x="130" y="1720"/>
                      <a:pt x="129" y="1723"/>
                    </a:cubicBezTo>
                    <a:lnTo>
                      <a:pt x="129" y="1723"/>
                    </a:lnTo>
                    <a:cubicBezTo>
                      <a:pt x="129" y="1726"/>
                      <a:pt x="129" y="1728"/>
                      <a:pt x="128" y="1730"/>
                    </a:cubicBezTo>
                    <a:lnTo>
                      <a:pt x="128" y="1731"/>
                    </a:lnTo>
                    <a:cubicBezTo>
                      <a:pt x="128" y="1733"/>
                      <a:pt x="127" y="1735"/>
                      <a:pt x="127" y="1738"/>
                    </a:cubicBezTo>
                    <a:lnTo>
                      <a:pt x="126" y="1739"/>
                    </a:lnTo>
                    <a:cubicBezTo>
                      <a:pt x="126" y="1741"/>
                      <a:pt x="125" y="1742"/>
                      <a:pt x="124" y="1744"/>
                    </a:cubicBezTo>
                    <a:lnTo>
                      <a:pt x="124" y="1745"/>
                    </a:lnTo>
                    <a:cubicBezTo>
                      <a:pt x="123" y="1747"/>
                      <a:pt x="122" y="1748"/>
                      <a:pt x="121" y="1750"/>
                    </a:cubicBezTo>
                    <a:lnTo>
                      <a:pt x="120" y="1751"/>
                    </a:lnTo>
                    <a:lnTo>
                      <a:pt x="117" y="1755"/>
                    </a:lnTo>
                    <a:lnTo>
                      <a:pt x="116" y="1756"/>
                    </a:lnTo>
                    <a:lnTo>
                      <a:pt x="113" y="1759"/>
                    </a:lnTo>
                    <a:lnTo>
                      <a:pt x="112" y="1760"/>
                    </a:lnTo>
                    <a:cubicBezTo>
                      <a:pt x="111" y="1761"/>
                      <a:pt x="109" y="1762"/>
                      <a:pt x="108" y="1763"/>
                    </a:cubicBezTo>
                    <a:lnTo>
                      <a:pt x="2821" y="190"/>
                    </a:lnTo>
                    <a:cubicBezTo>
                      <a:pt x="2822" y="189"/>
                      <a:pt x="2824" y="188"/>
                      <a:pt x="2825" y="187"/>
                    </a:cubicBezTo>
                    <a:lnTo>
                      <a:pt x="2826" y="186"/>
                    </a:lnTo>
                    <a:lnTo>
                      <a:pt x="2829" y="183"/>
                    </a:lnTo>
                    <a:lnTo>
                      <a:pt x="2830" y="182"/>
                    </a:lnTo>
                    <a:lnTo>
                      <a:pt x="2833" y="178"/>
                    </a:lnTo>
                    <a:lnTo>
                      <a:pt x="2834" y="177"/>
                    </a:lnTo>
                    <a:lnTo>
                      <a:pt x="2834" y="177"/>
                    </a:lnTo>
                    <a:cubicBezTo>
                      <a:pt x="2835" y="175"/>
                      <a:pt x="2836" y="174"/>
                      <a:pt x="2837" y="172"/>
                    </a:cubicBezTo>
                    <a:lnTo>
                      <a:pt x="2837" y="172"/>
                    </a:lnTo>
                    <a:lnTo>
                      <a:pt x="2837" y="171"/>
                    </a:lnTo>
                    <a:lnTo>
                      <a:pt x="2839" y="168"/>
                    </a:lnTo>
                    <a:lnTo>
                      <a:pt x="2839" y="166"/>
                    </a:lnTo>
                    <a:lnTo>
                      <a:pt x="2840" y="165"/>
                    </a:lnTo>
                    <a:lnTo>
                      <a:pt x="2840" y="164"/>
                    </a:lnTo>
                    <a:lnTo>
                      <a:pt x="2841" y="160"/>
                    </a:lnTo>
                    <a:lnTo>
                      <a:pt x="2841" y="158"/>
                    </a:lnTo>
                    <a:lnTo>
                      <a:pt x="2841" y="157"/>
                    </a:lnTo>
                    <a:lnTo>
                      <a:pt x="2842" y="156"/>
                    </a:lnTo>
                    <a:lnTo>
                      <a:pt x="2842" y="152"/>
                    </a:lnTo>
                    <a:lnTo>
                      <a:pt x="2842" y="150"/>
                    </a:lnTo>
                    <a:lnTo>
                      <a:pt x="2842" y="150"/>
                    </a:lnTo>
                    <a:lnTo>
                      <a:pt x="2843" y="149"/>
                    </a:lnTo>
                    <a:lnTo>
                      <a:pt x="2843" y="145"/>
                    </a:lnTo>
                    <a:lnTo>
                      <a:pt x="2843" y="142"/>
                    </a:lnTo>
                    <a:lnTo>
                      <a:pt x="2843" y="141"/>
                    </a:lnTo>
                    <a:lnTo>
                      <a:pt x="2843" y="138"/>
                    </a:ln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 33"/>
              <p:cNvSpPr>
                <a:spLocks/>
              </p:cNvSpPr>
              <p:nvPr/>
            </p:nvSpPr>
            <p:spPr bwMode="auto">
              <a:xfrm>
                <a:off x="2307" y="1427"/>
                <a:ext cx="148" cy="228"/>
              </a:xfrm>
              <a:custGeom>
                <a:avLst/>
                <a:gdLst>
                  <a:gd name="T0" fmla="*/ 41 w 309"/>
                  <a:gd name="T1" fmla="*/ 0 h 475"/>
                  <a:gd name="T2" fmla="*/ 308 w 309"/>
                  <a:gd name="T3" fmla="*/ 23 h 475"/>
                  <a:gd name="T4" fmla="*/ 309 w 309"/>
                  <a:gd name="T5" fmla="*/ 377 h 475"/>
                  <a:gd name="T6" fmla="*/ 0 w 309"/>
                  <a:gd name="T7" fmla="*/ 201 h 475"/>
                  <a:gd name="T8" fmla="*/ 41 w 309"/>
                  <a:gd name="T9" fmla="*/ 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9" h="475">
                    <a:moveTo>
                      <a:pt x="41" y="0"/>
                    </a:moveTo>
                    <a:lnTo>
                      <a:pt x="308" y="23"/>
                    </a:lnTo>
                    <a:lnTo>
                      <a:pt x="309" y="377"/>
                    </a:lnTo>
                    <a:cubicBezTo>
                      <a:pt x="139" y="475"/>
                      <a:pt x="1" y="396"/>
                      <a:pt x="0" y="201"/>
                    </a:cubicBezTo>
                    <a:cubicBezTo>
                      <a:pt x="0" y="136"/>
                      <a:pt x="15" y="67"/>
                      <a:pt x="41" y="0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Freeform 34"/>
              <p:cNvSpPr>
                <a:spLocks/>
              </p:cNvSpPr>
              <p:nvPr/>
            </p:nvSpPr>
            <p:spPr bwMode="auto">
              <a:xfrm>
                <a:off x="2455" y="1248"/>
                <a:ext cx="148" cy="360"/>
              </a:xfrm>
              <a:custGeom>
                <a:avLst/>
                <a:gdLst>
                  <a:gd name="T0" fmla="*/ 154 w 308"/>
                  <a:gd name="T1" fmla="*/ 0 h 750"/>
                  <a:gd name="T2" fmla="*/ 308 w 308"/>
                  <a:gd name="T3" fmla="*/ 218 h 750"/>
                  <a:gd name="T4" fmla="*/ 1 w 308"/>
                  <a:gd name="T5" fmla="*/ 750 h 750"/>
                  <a:gd name="T6" fmla="*/ 0 w 308"/>
                  <a:gd name="T7" fmla="*/ 396 h 750"/>
                  <a:gd name="T8" fmla="*/ 152 w 308"/>
                  <a:gd name="T9" fmla="*/ 2 h 750"/>
                  <a:gd name="T10" fmla="*/ 154 w 308"/>
                  <a:gd name="T11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8" h="750">
                    <a:moveTo>
                      <a:pt x="154" y="0"/>
                    </a:moveTo>
                    <a:cubicBezTo>
                      <a:pt x="245" y="9"/>
                      <a:pt x="307" y="87"/>
                      <a:pt x="308" y="218"/>
                    </a:cubicBezTo>
                    <a:cubicBezTo>
                      <a:pt x="308" y="413"/>
                      <a:pt x="171" y="652"/>
                      <a:pt x="1" y="750"/>
                    </a:cubicBezTo>
                    <a:lnTo>
                      <a:pt x="0" y="396"/>
                    </a:lnTo>
                    <a:lnTo>
                      <a:pt x="152" y="2"/>
                    </a:lnTo>
                    <a:lnTo>
                      <a:pt x="154" y="0"/>
                    </a:lnTo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 35"/>
              <p:cNvSpPr>
                <a:spLocks/>
              </p:cNvSpPr>
              <p:nvPr/>
            </p:nvSpPr>
            <p:spPr bwMode="auto">
              <a:xfrm>
                <a:off x="2327" y="1246"/>
                <a:ext cx="201" cy="192"/>
              </a:xfrm>
              <a:custGeom>
                <a:avLst/>
                <a:gdLst>
                  <a:gd name="T0" fmla="*/ 266 w 420"/>
                  <a:gd name="T1" fmla="*/ 45 h 399"/>
                  <a:gd name="T2" fmla="*/ 420 w 420"/>
                  <a:gd name="T3" fmla="*/ 4 h 399"/>
                  <a:gd name="T4" fmla="*/ 419 w 420"/>
                  <a:gd name="T5" fmla="*/ 6 h 399"/>
                  <a:gd name="T6" fmla="*/ 267 w 420"/>
                  <a:gd name="T7" fmla="*/ 399 h 399"/>
                  <a:gd name="T8" fmla="*/ 0 w 420"/>
                  <a:gd name="T9" fmla="*/ 376 h 399"/>
                  <a:gd name="T10" fmla="*/ 266 w 420"/>
                  <a:gd name="T11" fmla="*/ 45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399">
                    <a:moveTo>
                      <a:pt x="266" y="45"/>
                    </a:moveTo>
                    <a:cubicBezTo>
                      <a:pt x="322" y="13"/>
                      <a:pt x="375" y="0"/>
                      <a:pt x="420" y="4"/>
                    </a:cubicBezTo>
                    <a:lnTo>
                      <a:pt x="419" y="6"/>
                    </a:lnTo>
                    <a:lnTo>
                      <a:pt x="267" y="399"/>
                    </a:lnTo>
                    <a:lnTo>
                      <a:pt x="0" y="376"/>
                    </a:lnTo>
                    <a:cubicBezTo>
                      <a:pt x="53" y="240"/>
                      <a:pt x="152" y="111"/>
                      <a:pt x="266" y="45"/>
                    </a:cubicBezTo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 36"/>
              <p:cNvSpPr>
                <a:spLocks/>
              </p:cNvSpPr>
              <p:nvPr/>
            </p:nvSpPr>
            <p:spPr bwMode="auto">
              <a:xfrm>
                <a:off x="2307" y="1427"/>
                <a:ext cx="148" cy="228"/>
              </a:xfrm>
              <a:custGeom>
                <a:avLst/>
                <a:gdLst>
                  <a:gd name="T0" fmla="*/ 41 w 309"/>
                  <a:gd name="T1" fmla="*/ 0 h 475"/>
                  <a:gd name="T2" fmla="*/ 308 w 309"/>
                  <a:gd name="T3" fmla="*/ 23 h 475"/>
                  <a:gd name="T4" fmla="*/ 309 w 309"/>
                  <a:gd name="T5" fmla="*/ 377 h 475"/>
                  <a:gd name="T6" fmla="*/ 0 w 309"/>
                  <a:gd name="T7" fmla="*/ 201 h 475"/>
                  <a:gd name="T8" fmla="*/ 41 w 309"/>
                  <a:gd name="T9" fmla="*/ 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9" h="475">
                    <a:moveTo>
                      <a:pt x="41" y="0"/>
                    </a:moveTo>
                    <a:lnTo>
                      <a:pt x="308" y="23"/>
                    </a:lnTo>
                    <a:lnTo>
                      <a:pt x="309" y="377"/>
                    </a:lnTo>
                    <a:cubicBezTo>
                      <a:pt x="139" y="475"/>
                      <a:pt x="1" y="396"/>
                      <a:pt x="0" y="201"/>
                    </a:cubicBezTo>
                    <a:cubicBezTo>
                      <a:pt x="0" y="136"/>
                      <a:pt x="15" y="67"/>
                      <a:pt x="41" y="0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 37"/>
              <p:cNvSpPr>
                <a:spLocks/>
              </p:cNvSpPr>
              <p:nvPr/>
            </p:nvSpPr>
            <p:spPr bwMode="auto">
              <a:xfrm>
                <a:off x="2308" y="1904"/>
                <a:ext cx="77" cy="72"/>
              </a:xfrm>
              <a:custGeom>
                <a:avLst/>
                <a:gdLst>
                  <a:gd name="T0" fmla="*/ 77 w 77"/>
                  <a:gd name="T1" fmla="*/ 0 h 72"/>
                  <a:gd name="T2" fmla="*/ 77 w 77"/>
                  <a:gd name="T3" fmla="*/ 28 h 72"/>
                  <a:gd name="T4" fmla="*/ 0 w 77"/>
                  <a:gd name="T5" fmla="*/ 72 h 72"/>
                  <a:gd name="T6" fmla="*/ 0 w 77"/>
                  <a:gd name="T7" fmla="*/ 44 h 72"/>
                  <a:gd name="T8" fmla="*/ 77 w 77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72">
                    <a:moveTo>
                      <a:pt x="77" y="0"/>
                    </a:moveTo>
                    <a:lnTo>
                      <a:pt x="77" y="28"/>
                    </a:lnTo>
                    <a:lnTo>
                      <a:pt x="0" y="72"/>
                    </a:lnTo>
                    <a:lnTo>
                      <a:pt x="0" y="44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 38"/>
              <p:cNvSpPr>
                <a:spLocks/>
              </p:cNvSpPr>
              <p:nvPr/>
            </p:nvSpPr>
            <p:spPr bwMode="auto">
              <a:xfrm>
                <a:off x="2308" y="1772"/>
                <a:ext cx="112" cy="93"/>
              </a:xfrm>
              <a:custGeom>
                <a:avLst/>
                <a:gdLst>
                  <a:gd name="T0" fmla="*/ 112 w 112"/>
                  <a:gd name="T1" fmla="*/ 0 h 93"/>
                  <a:gd name="T2" fmla="*/ 112 w 112"/>
                  <a:gd name="T3" fmla="*/ 28 h 93"/>
                  <a:gd name="T4" fmla="*/ 0 w 112"/>
                  <a:gd name="T5" fmla="*/ 93 h 93"/>
                  <a:gd name="T6" fmla="*/ 0 w 112"/>
                  <a:gd name="T7" fmla="*/ 65 h 93"/>
                  <a:gd name="T8" fmla="*/ 112 w 112"/>
                  <a:gd name="T9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93">
                    <a:moveTo>
                      <a:pt x="112" y="0"/>
                    </a:moveTo>
                    <a:lnTo>
                      <a:pt x="112" y="28"/>
                    </a:lnTo>
                    <a:lnTo>
                      <a:pt x="0" y="93"/>
                    </a:lnTo>
                    <a:lnTo>
                      <a:pt x="0" y="65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 39"/>
              <p:cNvSpPr>
                <a:spLocks/>
              </p:cNvSpPr>
              <p:nvPr/>
            </p:nvSpPr>
            <p:spPr bwMode="auto">
              <a:xfrm>
                <a:off x="2308" y="1750"/>
                <a:ext cx="248" cy="171"/>
              </a:xfrm>
              <a:custGeom>
                <a:avLst/>
                <a:gdLst>
                  <a:gd name="T0" fmla="*/ 248 w 248"/>
                  <a:gd name="T1" fmla="*/ 0 h 171"/>
                  <a:gd name="T2" fmla="*/ 248 w 248"/>
                  <a:gd name="T3" fmla="*/ 27 h 171"/>
                  <a:gd name="T4" fmla="*/ 0 w 248"/>
                  <a:gd name="T5" fmla="*/ 171 h 171"/>
                  <a:gd name="T6" fmla="*/ 0 w 248"/>
                  <a:gd name="T7" fmla="*/ 143 h 171"/>
                  <a:gd name="T8" fmla="*/ 248 w 248"/>
                  <a:gd name="T9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71">
                    <a:moveTo>
                      <a:pt x="248" y="0"/>
                    </a:moveTo>
                    <a:lnTo>
                      <a:pt x="248" y="27"/>
                    </a:lnTo>
                    <a:lnTo>
                      <a:pt x="0" y="171"/>
                    </a:lnTo>
                    <a:lnTo>
                      <a:pt x="0" y="143"/>
                    </a:lnTo>
                    <a:lnTo>
                      <a:pt x="248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40"/>
              <p:cNvSpPr>
                <a:spLocks/>
              </p:cNvSpPr>
              <p:nvPr/>
            </p:nvSpPr>
            <p:spPr bwMode="auto">
              <a:xfrm>
                <a:off x="2730" y="1461"/>
                <a:ext cx="230" cy="160"/>
              </a:xfrm>
              <a:custGeom>
                <a:avLst/>
                <a:gdLst>
                  <a:gd name="T0" fmla="*/ 230 w 230"/>
                  <a:gd name="T1" fmla="*/ 0 h 160"/>
                  <a:gd name="T2" fmla="*/ 230 w 230"/>
                  <a:gd name="T3" fmla="*/ 27 h 160"/>
                  <a:gd name="T4" fmla="*/ 0 w 230"/>
                  <a:gd name="T5" fmla="*/ 160 h 160"/>
                  <a:gd name="T6" fmla="*/ 0 w 230"/>
                  <a:gd name="T7" fmla="*/ 132 h 160"/>
                  <a:gd name="T8" fmla="*/ 230 w 230"/>
                  <a:gd name="T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0" h="160">
                    <a:moveTo>
                      <a:pt x="230" y="0"/>
                    </a:moveTo>
                    <a:lnTo>
                      <a:pt x="230" y="27"/>
                    </a:lnTo>
                    <a:lnTo>
                      <a:pt x="0" y="160"/>
                    </a:lnTo>
                    <a:lnTo>
                      <a:pt x="0" y="132"/>
                    </a:lnTo>
                    <a:lnTo>
                      <a:pt x="230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 41"/>
              <p:cNvSpPr>
                <a:spLocks/>
              </p:cNvSpPr>
              <p:nvPr/>
            </p:nvSpPr>
            <p:spPr bwMode="auto">
              <a:xfrm>
                <a:off x="2655" y="1675"/>
                <a:ext cx="127" cy="102"/>
              </a:xfrm>
              <a:custGeom>
                <a:avLst/>
                <a:gdLst>
                  <a:gd name="T0" fmla="*/ 127 w 127"/>
                  <a:gd name="T1" fmla="*/ 0 h 102"/>
                  <a:gd name="T2" fmla="*/ 127 w 127"/>
                  <a:gd name="T3" fmla="*/ 28 h 102"/>
                  <a:gd name="T4" fmla="*/ 0 w 127"/>
                  <a:gd name="T5" fmla="*/ 102 h 102"/>
                  <a:gd name="T6" fmla="*/ 0 w 127"/>
                  <a:gd name="T7" fmla="*/ 74 h 102"/>
                  <a:gd name="T8" fmla="*/ 127 w 127"/>
                  <a:gd name="T9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02">
                    <a:moveTo>
                      <a:pt x="127" y="0"/>
                    </a:moveTo>
                    <a:lnTo>
                      <a:pt x="127" y="28"/>
                    </a:lnTo>
                    <a:lnTo>
                      <a:pt x="0" y="102"/>
                    </a:lnTo>
                    <a:lnTo>
                      <a:pt x="0" y="74"/>
                    </a:ln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42"/>
              <p:cNvSpPr>
                <a:spLocks/>
              </p:cNvSpPr>
              <p:nvPr/>
            </p:nvSpPr>
            <p:spPr bwMode="auto">
              <a:xfrm>
                <a:off x="2595" y="1598"/>
                <a:ext cx="224" cy="157"/>
              </a:xfrm>
              <a:custGeom>
                <a:avLst/>
                <a:gdLst>
                  <a:gd name="T0" fmla="*/ 224 w 224"/>
                  <a:gd name="T1" fmla="*/ 0 h 157"/>
                  <a:gd name="T2" fmla="*/ 224 w 224"/>
                  <a:gd name="T3" fmla="*/ 28 h 157"/>
                  <a:gd name="T4" fmla="*/ 0 w 224"/>
                  <a:gd name="T5" fmla="*/ 157 h 157"/>
                  <a:gd name="T6" fmla="*/ 0 w 224"/>
                  <a:gd name="T7" fmla="*/ 129 h 157"/>
                  <a:gd name="T8" fmla="*/ 224 w 224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57">
                    <a:moveTo>
                      <a:pt x="224" y="0"/>
                    </a:moveTo>
                    <a:lnTo>
                      <a:pt x="224" y="28"/>
                    </a:lnTo>
                    <a:lnTo>
                      <a:pt x="0" y="157"/>
                    </a:lnTo>
                    <a:lnTo>
                      <a:pt x="0" y="129"/>
                    </a:lnTo>
                    <a:lnTo>
                      <a:pt x="224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43"/>
              <p:cNvSpPr>
                <a:spLocks/>
              </p:cNvSpPr>
              <p:nvPr/>
            </p:nvSpPr>
            <p:spPr bwMode="auto">
              <a:xfrm>
                <a:off x="2554" y="1547"/>
                <a:ext cx="161" cy="120"/>
              </a:xfrm>
              <a:custGeom>
                <a:avLst/>
                <a:gdLst>
                  <a:gd name="T0" fmla="*/ 161 w 161"/>
                  <a:gd name="T1" fmla="*/ 0 h 120"/>
                  <a:gd name="T2" fmla="*/ 161 w 161"/>
                  <a:gd name="T3" fmla="*/ 27 h 120"/>
                  <a:gd name="T4" fmla="*/ 1 w 161"/>
                  <a:gd name="T5" fmla="*/ 120 h 120"/>
                  <a:gd name="T6" fmla="*/ 0 w 161"/>
                  <a:gd name="T7" fmla="*/ 92 h 120"/>
                  <a:gd name="T8" fmla="*/ 161 w 161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120">
                    <a:moveTo>
                      <a:pt x="161" y="0"/>
                    </a:moveTo>
                    <a:lnTo>
                      <a:pt x="161" y="27"/>
                    </a:lnTo>
                    <a:lnTo>
                      <a:pt x="1" y="120"/>
                    </a:lnTo>
                    <a:lnTo>
                      <a:pt x="0" y="92"/>
                    </a:ln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44"/>
              <p:cNvSpPr>
                <a:spLocks/>
              </p:cNvSpPr>
              <p:nvPr/>
            </p:nvSpPr>
            <p:spPr bwMode="auto">
              <a:xfrm>
                <a:off x="2459" y="1616"/>
                <a:ext cx="233" cy="161"/>
              </a:xfrm>
              <a:custGeom>
                <a:avLst/>
                <a:gdLst>
                  <a:gd name="T0" fmla="*/ 233 w 233"/>
                  <a:gd name="T1" fmla="*/ 0 h 161"/>
                  <a:gd name="T2" fmla="*/ 233 w 233"/>
                  <a:gd name="T3" fmla="*/ 28 h 161"/>
                  <a:gd name="T4" fmla="*/ 0 w 233"/>
                  <a:gd name="T5" fmla="*/ 161 h 161"/>
                  <a:gd name="T6" fmla="*/ 0 w 233"/>
                  <a:gd name="T7" fmla="*/ 134 h 161"/>
                  <a:gd name="T8" fmla="*/ 233 w 233"/>
                  <a:gd name="T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3" h="161">
                    <a:moveTo>
                      <a:pt x="233" y="0"/>
                    </a:moveTo>
                    <a:lnTo>
                      <a:pt x="233" y="28"/>
                    </a:lnTo>
                    <a:lnTo>
                      <a:pt x="0" y="161"/>
                    </a:lnTo>
                    <a:lnTo>
                      <a:pt x="0" y="134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 45"/>
              <p:cNvSpPr>
                <a:spLocks/>
              </p:cNvSpPr>
              <p:nvPr/>
            </p:nvSpPr>
            <p:spPr bwMode="auto">
              <a:xfrm>
                <a:off x="2684" y="1115"/>
                <a:ext cx="45" cy="66"/>
              </a:xfrm>
              <a:custGeom>
                <a:avLst/>
                <a:gdLst>
                  <a:gd name="T0" fmla="*/ 46 w 93"/>
                  <a:gd name="T1" fmla="*/ 15 h 137"/>
                  <a:gd name="T2" fmla="*/ 93 w 93"/>
                  <a:gd name="T3" fmla="*/ 42 h 137"/>
                  <a:gd name="T4" fmla="*/ 47 w 93"/>
                  <a:gd name="T5" fmla="*/ 122 h 137"/>
                  <a:gd name="T6" fmla="*/ 0 w 93"/>
                  <a:gd name="T7" fmla="*/ 95 h 137"/>
                  <a:gd name="T8" fmla="*/ 46 w 93"/>
                  <a:gd name="T9" fmla="*/ 1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137">
                    <a:moveTo>
                      <a:pt x="46" y="15"/>
                    </a:moveTo>
                    <a:cubicBezTo>
                      <a:pt x="72" y="0"/>
                      <a:pt x="93" y="12"/>
                      <a:pt x="93" y="42"/>
                    </a:cubicBezTo>
                    <a:cubicBezTo>
                      <a:pt x="93" y="71"/>
                      <a:pt x="72" y="107"/>
                      <a:pt x="47" y="122"/>
                    </a:cubicBezTo>
                    <a:cubicBezTo>
                      <a:pt x="21" y="137"/>
                      <a:pt x="0" y="125"/>
                      <a:pt x="0" y="95"/>
                    </a:cubicBezTo>
                    <a:cubicBezTo>
                      <a:pt x="0" y="66"/>
                      <a:pt x="21" y="30"/>
                      <a:pt x="46" y="15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 46"/>
              <p:cNvSpPr>
                <a:spLocks/>
              </p:cNvSpPr>
              <p:nvPr/>
            </p:nvSpPr>
            <p:spPr bwMode="auto">
              <a:xfrm>
                <a:off x="2684" y="1204"/>
                <a:ext cx="45" cy="65"/>
              </a:xfrm>
              <a:custGeom>
                <a:avLst/>
                <a:gdLst>
                  <a:gd name="T0" fmla="*/ 47 w 94"/>
                  <a:gd name="T1" fmla="*/ 14 h 136"/>
                  <a:gd name="T2" fmla="*/ 94 w 94"/>
                  <a:gd name="T3" fmla="*/ 41 h 136"/>
                  <a:gd name="T4" fmla="*/ 47 w 94"/>
                  <a:gd name="T5" fmla="*/ 121 h 136"/>
                  <a:gd name="T6" fmla="*/ 1 w 94"/>
                  <a:gd name="T7" fmla="*/ 95 h 136"/>
                  <a:gd name="T8" fmla="*/ 47 w 94"/>
                  <a:gd name="T9" fmla="*/ 1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136">
                    <a:moveTo>
                      <a:pt x="47" y="14"/>
                    </a:moveTo>
                    <a:cubicBezTo>
                      <a:pt x="73" y="0"/>
                      <a:pt x="94" y="12"/>
                      <a:pt x="94" y="41"/>
                    </a:cubicBezTo>
                    <a:cubicBezTo>
                      <a:pt x="94" y="71"/>
                      <a:pt x="73" y="107"/>
                      <a:pt x="47" y="121"/>
                    </a:cubicBezTo>
                    <a:cubicBezTo>
                      <a:pt x="21" y="136"/>
                      <a:pt x="1" y="124"/>
                      <a:pt x="1" y="95"/>
                    </a:cubicBezTo>
                    <a:cubicBezTo>
                      <a:pt x="0" y="65"/>
                      <a:pt x="21" y="29"/>
                      <a:pt x="47" y="14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 47"/>
              <p:cNvSpPr>
                <a:spLocks/>
              </p:cNvSpPr>
              <p:nvPr/>
            </p:nvSpPr>
            <p:spPr bwMode="auto">
              <a:xfrm>
                <a:off x="2685" y="1293"/>
                <a:ext cx="44" cy="65"/>
              </a:xfrm>
              <a:custGeom>
                <a:avLst/>
                <a:gdLst>
                  <a:gd name="T0" fmla="*/ 46 w 93"/>
                  <a:gd name="T1" fmla="*/ 15 h 137"/>
                  <a:gd name="T2" fmla="*/ 93 w 93"/>
                  <a:gd name="T3" fmla="*/ 41 h 137"/>
                  <a:gd name="T4" fmla="*/ 47 w 93"/>
                  <a:gd name="T5" fmla="*/ 122 h 137"/>
                  <a:gd name="T6" fmla="*/ 0 w 93"/>
                  <a:gd name="T7" fmla="*/ 95 h 137"/>
                  <a:gd name="T8" fmla="*/ 46 w 93"/>
                  <a:gd name="T9" fmla="*/ 1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137">
                    <a:moveTo>
                      <a:pt x="46" y="15"/>
                    </a:moveTo>
                    <a:cubicBezTo>
                      <a:pt x="72" y="0"/>
                      <a:pt x="93" y="12"/>
                      <a:pt x="93" y="41"/>
                    </a:cubicBezTo>
                    <a:cubicBezTo>
                      <a:pt x="93" y="71"/>
                      <a:pt x="72" y="107"/>
                      <a:pt x="47" y="122"/>
                    </a:cubicBezTo>
                    <a:cubicBezTo>
                      <a:pt x="21" y="137"/>
                      <a:pt x="0" y="125"/>
                      <a:pt x="0" y="95"/>
                    </a:cubicBezTo>
                    <a:cubicBezTo>
                      <a:pt x="0" y="66"/>
                      <a:pt x="21" y="30"/>
                      <a:pt x="46" y="15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 48"/>
              <p:cNvSpPr>
                <a:spLocks/>
              </p:cNvSpPr>
              <p:nvPr/>
            </p:nvSpPr>
            <p:spPr bwMode="auto">
              <a:xfrm>
                <a:off x="2685" y="1381"/>
                <a:ext cx="45" cy="66"/>
              </a:xfrm>
              <a:custGeom>
                <a:avLst/>
                <a:gdLst>
                  <a:gd name="T0" fmla="*/ 47 w 94"/>
                  <a:gd name="T1" fmla="*/ 15 h 137"/>
                  <a:gd name="T2" fmla="*/ 94 w 94"/>
                  <a:gd name="T3" fmla="*/ 42 h 137"/>
                  <a:gd name="T4" fmla="*/ 47 w 94"/>
                  <a:gd name="T5" fmla="*/ 122 h 137"/>
                  <a:gd name="T6" fmla="*/ 1 w 94"/>
                  <a:gd name="T7" fmla="*/ 96 h 137"/>
                  <a:gd name="T8" fmla="*/ 47 w 94"/>
                  <a:gd name="T9" fmla="*/ 1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137">
                    <a:moveTo>
                      <a:pt x="47" y="15"/>
                    </a:moveTo>
                    <a:cubicBezTo>
                      <a:pt x="73" y="0"/>
                      <a:pt x="94" y="12"/>
                      <a:pt x="94" y="42"/>
                    </a:cubicBezTo>
                    <a:cubicBezTo>
                      <a:pt x="94" y="71"/>
                      <a:pt x="73" y="107"/>
                      <a:pt x="47" y="122"/>
                    </a:cubicBezTo>
                    <a:cubicBezTo>
                      <a:pt x="22" y="137"/>
                      <a:pt x="1" y="125"/>
                      <a:pt x="1" y="96"/>
                    </a:cubicBezTo>
                    <a:cubicBezTo>
                      <a:pt x="0" y="66"/>
                      <a:pt x="21" y="30"/>
                      <a:pt x="47" y="15"/>
                    </a:cubicBezTo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 49"/>
              <p:cNvSpPr>
                <a:spLocks/>
              </p:cNvSpPr>
              <p:nvPr/>
            </p:nvSpPr>
            <p:spPr bwMode="auto">
              <a:xfrm>
                <a:off x="2759" y="1061"/>
                <a:ext cx="74" cy="72"/>
              </a:xfrm>
              <a:custGeom>
                <a:avLst/>
                <a:gdLst>
                  <a:gd name="T0" fmla="*/ 74 w 74"/>
                  <a:gd name="T1" fmla="*/ 0 h 72"/>
                  <a:gd name="T2" fmla="*/ 74 w 74"/>
                  <a:gd name="T3" fmla="*/ 29 h 72"/>
                  <a:gd name="T4" fmla="*/ 0 w 74"/>
                  <a:gd name="T5" fmla="*/ 72 h 72"/>
                  <a:gd name="T6" fmla="*/ 0 w 74"/>
                  <a:gd name="T7" fmla="*/ 42 h 72"/>
                  <a:gd name="T8" fmla="*/ 74 w 74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72">
                    <a:moveTo>
                      <a:pt x="74" y="0"/>
                    </a:moveTo>
                    <a:lnTo>
                      <a:pt x="74" y="29"/>
                    </a:lnTo>
                    <a:lnTo>
                      <a:pt x="0" y="72"/>
                    </a:lnTo>
                    <a:lnTo>
                      <a:pt x="0" y="42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 50"/>
              <p:cNvSpPr>
                <a:spLocks/>
              </p:cNvSpPr>
              <p:nvPr/>
            </p:nvSpPr>
            <p:spPr bwMode="auto">
              <a:xfrm>
                <a:off x="2857" y="1004"/>
                <a:ext cx="74" cy="72"/>
              </a:xfrm>
              <a:custGeom>
                <a:avLst/>
                <a:gdLst>
                  <a:gd name="T0" fmla="*/ 74 w 74"/>
                  <a:gd name="T1" fmla="*/ 0 h 72"/>
                  <a:gd name="T2" fmla="*/ 74 w 74"/>
                  <a:gd name="T3" fmla="*/ 30 h 72"/>
                  <a:gd name="T4" fmla="*/ 0 w 74"/>
                  <a:gd name="T5" fmla="*/ 72 h 72"/>
                  <a:gd name="T6" fmla="*/ 0 w 74"/>
                  <a:gd name="T7" fmla="*/ 43 h 72"/>
                  <a:gd name="T8" fmla="*/ 74 w 74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72">
                    <a:moveTo>
                      <a:pt x="74" y="0"/>
                    </a:moveTo>
                    <a:lnTo>
                      <a:pt x="74" y="30"/>
                    </a:lnTo>
                    <a:lnTo>
                      <a:pt x="0" y="72"/>
                    </a:lnTo>
                    <a:lnTo>
                      <a:pt x="0" y="43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 51"/>
              <p:cNvSpPr>
                <a:spLocks/>
              </p:cNvSpPr>
              <p:nvPr/>
            </p:nvSpPr>
            <p:spPr bwMode="auto">
              <a:xfrm>
                <a:off x="2853" y="1254"/>
                <a:ext cx="106" cy="90"/>
              </a:xfrm>
              <a:custGeom>
                <a:avLst/>
                <a:gdLst>
                  <a:gd name="T0" fmla="*/ 106 w 106"/>
                  <a:gd name="T1" fmla="*/ 0 h 90"/>
                  <a:gd name="T2" fmla="*/ 106 w 106"/>
                  <a:gd name="T3" fmla="*/ 29 h 90"/>
                  <a:gd name="T4" fmla="*/ 1 w 106"/>
                  <a:gd name="T5" fmla="*/ 90 h 90"/>
                  <a:gd name="T6" fmla="*/ 0 w 106"/>
                  <a:gd name="T7" fmla="*/ 61 h 90"/>
                  <a:gd name="T8" fmla="*/ 106 w 106"/>
                  <a:gd name="T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90">
                    <a:moveTo>
                      <a:pt x="106" y="0"/>
                    </a:moveTo>
                    <a:lnTo>
                      <a:pt x="106" y="29"/>
                    </a:lnTo>
                    <a:lnTo>
                      <a:pt x="1" y="90"/>
                    </a:lnTo>
                    <a:lnTo>
                      <a:pt x="0" y="61"/>
                    </a:lnTo>
                    <a:lnTo>
                      <a:pt x="106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 52"/>
              <p:cNvSpPr>
                <a:spLocks/>
              </p:cNvSpPr>
              <p:nvPr/>
            </p:nvSpPr>
            <p:spPr bwMode="auto">
              <a:xfrm>
                <a:off x="2760" y="1202"/>
                <a:ext cx="135" cy="108"/>
              </a:xfrm>
              <a:custGeom>
                <a:avLst/>
                <a:gdLst>
                  <a:gd name="T0" fmla="*/ 135 w 135"/>
                  <a:gd name="T1" fmla="*/ 0 h 108"/>
                  <a:gd name="T2" fmla="*/ 135 w 135"/>
                  <a:gd name="T3" fmla="*/ 30 h 108"/>
                  <a:gd name="T4" fmla="*/ 0 w 135"/>
                  <a:gd name="T5" fmla="*/ 108 h 108"/>
                  <a:gd name="T6" fmla="*/ 0 w 135"/>
                  <a:gd name="T7" fmla="*/ 79 h 108"/>
                  <a:gd name="T8" fmla="*/ 135 w 135"/>
                  <a:gd name="T9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08">
                    <a:moveTo>
                      <a:pt x="135" y="0"/>
                    </a:moveTo>
                    <a:lnTo>
                      <a:pt x="135" y="30"/>
                    </a:lnTo>
                    <a:lnTo>
                      <a:pt x="0" y="108"/>
                    </a:lnTo>
                    <a:lnTo>
                      <a:pt x="0" y="79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 53"/>
              <p:cNvSpPr>
                <a:spLocks/>
              </p:cNvSpPr>
              <p:nvPr/>
            </p:nvSpPr>
            <p:spPr bwMode="auto">
              <a:xfrm>
                <a:off x="2759" y="1138"/>
                <a:ext cx="93" cy="83"/>
              </a:xfrm>
              <a:custGeom>
                <a:avLst/>
                <a:gdLst>
                  <a:gd name="T0" fmla="*/ 93 w 93"/>
                  <a:gd name="T1" fmla="*/ 0 h 83"/>
                  <a:gd name="T2" fmla="*/ 93 w 93"/>
                  <a:gd name="T3" fmla="*/ 30 h 83"/>
                  <a:gd name="T4" fmla="*/ 0 w 93"/>
                  <a:gd name="T5" fmla="*/ 83 h 83"/>
                  <a:gd name="T6" fmla="*/ 0 w 93"/>
                  <a:gd name="T7" fmla="*/ 54 h 83"/>
                  <a:gd name="T8" fmla="*/ 93 w 93"/>
                  <a:gd name="T9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83">
                    <a:moveTo>
                      <a:pt x="93" y="0"/>
                    </a:moveTo>
                    <a:lnTo>
                      <a:pt x="93" y="30"/>
                    </a:lnTo>
                    <a:lnTo>
                      <a:pt x="0" y="83"/>
                    </a:lnTo>
                    <a:lnTo>
                      <a:pt x="0" y="54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 54"/>
              <p:cNvSpPr>
                <a:spLocks/>
              </p:cNvSpPr>
              <p:nvPr/>
            </p:nvSpPr>
            <p:spPr bwMode="auto">
              <a:xfrm>
                <a:off x="2760" y="1327"/>
                <a:ext cx="73" cy="71"/>
              </a:xfrm>
              <a:custGeom>
                <a:avLst/>
                <a:gdLst>
                  <a:gd name="T0" fmla="*/ 73 w 73"/>
                  <a:gd name="T1" fmla="*/ 0 h 71"/>
                  <a:gd name="T2" fmla="*/ 73 w 73"/>
                  <a:gd name="T3" fmla="*/ 29 h 71"/>
                  <a:gd name="T4" fmla="*/ 0 w 73"/>
                  <a:gd name="T5" fmla="*/ 71 h 71"/>
                  <a:gd name="T6" fmla="*/ 0 w 73"/>
                  <a:gd name="T7" fmla="*/ 42 h 71"/>
                  <a:gd name="T8" fmla="*/ 73 w 73"/>
                  <a:gd name="T9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71">
                    <a:moveTo>
                      <a:pt x="73" y="0"/>
                    </a:moveTo>
                    <a:lnTo>
                      <a:pt x="73" y="29"/>
                    </a:lnTo>
                    <a:lnTo>
                      <a:pt x="0" y="71"/>
                    </a:lnTo>
                    <a:lnTo>
                      <a:pt x="0" y="42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0" name="Freeform 55"/>
              <p:cNvSpPr>
                <a:spLocks/>
              </p:cNvSpPr>
              <p:nvPr/>
            </p:nvSpPr>
            <p:spPr bwMode="auto">
              <a:xfrm>
                <a:off x="2424" y="1771"/>
                <a:ext cx="192" cy="139"/>
              </a:xfrm>
              <a:custGeom>
                <a:avLst/>
                <a:gdLst>
                  <a:gd name="T0" fmla="*/ 191 w 192"/>
                  <a:gd name="T1" fmla="*/ 0 h 139"/>
                  <a:gd name="T2" fmla="*/ 192 w 192"/>
                  <a:gd name="T3" fmla="*/ 28 h 139"/>
                  <a:gd name="T4" fmla="*/ 0 w 192"/>
                  <a:gd name="T5" fmla="*/ 139 h 139"/>
                  <a:gd name="T6" fmla="*/ 0 w 192"/>
                  <a:gd name="T7" fmla="*/ 111 h 139"/>
                  <a:gd name="T8" fmla="*/ 191 w 192"/>
                  <a:gd name="T9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9">
                    <a:moveTo>
                      <a:pt x="191" y="0"/>
                    </a:moveTo>
                    <a:lnTo>
                      <a:pt x="192" y="28"/>
                    </a:lnTo>
                    <a:lnTo>
                      <a:pt x="0" y="139"/>
                    </a:lnTo>
                    <a:lnTo>
                      <a:pt x="0" y="111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Freeform 56"/>
              <p:cNvSpPr>
                <a:spLocks/>
              </p:cNvSpPr>
              <p:nvPr/>
            </p:nvSpPr>
            <p:spPr bwMode="auto">
              <a:xfrm>
                <a:off x="2308" y="1661"/>
                <a:ext cx="207" cy="148"/>
              </a:xfrm>
              <a:custGeom>
                <a:avLst/>
                <a:gdLst>
                  <a:gd name="T0" fmla="*/ 207 w 207"/>
                  <a:gd name="T1" fmla="*/ 0 h 148"/>
                  <a:gd name="T2" fmla="*/ 207 w 207"/>
                  <a:gd name="T3" fmla="*/ 28 h 148"/>
                  <a:gd name="T4" fmla="*/ 0 w 207"/>
                  <a:gd name="T5" fmla="*/ 148 h 148"/>
                  <a:gd name="T6" fmla="*/ 0 w 207"/>
                  <a:gd name="T7" fmla="*/ 120 h 148"/>
                  <a:gd name="T8" fmla="*/ 207 w 207"/>
                  <a:gd name="T9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148">
                    <a:moveTo>
                      <a:pt x="207" y="0"/>
                    </a:moveTo>
                    <a:lnTo>
                      <a:pt x="207" y="28"/>
                    </a:lnTo>
                    <a:lnTo>
                      <a:pt x="0" y="148"/>
                    </a:lnTo>
                    <a:lnTo>
                      <a:pt x="0" y="120"/>
                    </a:lnTo>
                    <a:lnTo>
                      <a:pt x="207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Freeform 57"/>
              <p:cNvSpPr>
                <a:spLocks/>
              </p:cNvSpPr>
              <p:nvPr/>
            </p:nvSpPr>
            <p:spPr bwMode="auto">
              <a:xfrm>
                <a:off x="2858" y="1516"/>
                <a:ext cx="102" cy="87"/>
              </a:xfrm>
              <a:custGeom>
                <a:avLst/>
                <a:gdLst>
                  <a:gd name="T0" fmla="*/ 102 w 102"/>
                  <a:gd name="T1" fmla="*/ 0 h 87"/>
                  <a:gd name="T2" fmla="*/ 102 w 102"/>
                  <a:gd name="T3" fmla="*/ 28 h 87"/>
                  <a:gd name="T4" fmla="*/ 0 w 102"/>
                  <a:gd name="T5" fmla="*/ 87 h 87"/>
                  <a:gd name="T6" fmla="*/ 0 w 102"/>
                  <a:gd name="T7" fmla="*/ 59 h 87"/>
                  <a:gd name="T8" fmla="*/ 102 w 102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87">
                    <a:moveTo>
                      <a:pt x="102" y="0"/>
                    </a:moveTo>
                    <a:lnTo>
                      <a:pt x="102" y="28"/>
                    </a:lnTo>
                    <a:lnTo>
                      <a:pt x="0" y="87"/>
                    </a:lnTo>
                    <a:lnTo>
                      <a:pt x="0" y="59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" name="Freeform 58"/>
              <p:cNvSpPr>
                <a:spLocks/>
              </p:cNvSpPr>
              <p:nvPr/>
            </p:nvSpPr>
            <p:spPr bwMode="auto">
              <a:xfrm>
                <a:off x="2821" y="1572"/>
                <a:ext cx="139" cy="108"/>
              </a:xfrm>
              <a:custGeom>
                <a:avLst/>
                <a:gdLst>
                  <a:gd name="T0" fmla="*/ 139 w 139"/>
                  <a:gd name="T1" fmla="*/ 0 h 108"/>
                  <a:gd name="T2" fmla="*/ 139 w 139"/>
                  <a:gd name="T3" fmla="*/ 28 h 108"/>
                  <a:gd name="T4" fmla="*/ 0 w 139"/>
                  <a:gd name="T5" fmla="*/ 108 h 108"/>
                  <a:gd name="T6" fmla="*/ 0 w 139"/>
                  <a:gd name="T7" fmla="*/ 80 h 108"/>
                  <a:gd name="T8" fmla="*/ 139 w 139"/>
                  <a:gd name="T9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08">
                    <a:moveTo>
                      <a:pt x="139" y="0"/>
                    </a:moveTo>
                    <a:lnTo>
                      <a:pt x="139" y="28"/>
                    </a:lnTo>
                    <a:lnTo>
                      <a:pt x="0" y="108"/>
                    </a:lnTo>
                    <a:lnTo>
                      <a:pt x="0" y="8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4" name="Freeform 59"/>
              <p:cNvSpPr>
                <a:spLocks/>
              </p:cNvSpPr>
              <p:nvPr/>
            </p:nvSpPr>
            <p:spPr bwMode="auto">
              <a:xfrm>
                <a:off x="3043" y="1347"/>
                <a:ext cx="113" cy="93"/>
              </a:xfrm>
              <a:custGeom>
                <a:avLst/>
                <a:gdLst>
                  <a:gd name="T0" fmla="*/ 113 w 113"/>
                  <a:gd name="T1" fmla="*/ 0 h 93"/>
                  <a:gd name="T2" fmla="*/ 113 w 113"/>
                  <a:gd name="T3" fmla="*/ 28 h 93"/>
                  <a:gd name="T4" fmla="*/ 0 w 113"/>
                  <a:gd name="T5" fmla="*/ 93 h 93"/>
                  <a:gd name="T6" fmla="*/ 0 w 113"/>
                  <a:gd name="T7" fmla="*/ 65 h 93"/>
                  <a:gd name="T8" fmla="*/ 113 w 113"/>
                  <a:gd name="T9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93">
                    <a:moveTo>
                      <a:pt x="113" y="0"/>
                    </a:moveTo>
                    <a:lnTo>
                      <a:pt x="113" y="28"/>
                    </a:lnTo>
                    <a:lnTo>
                      <a:pt x="0" y="93"/>
                    </a:lnTo>
                    <a:lnTo>
                      <a:pt x="0" y="65"/>
                    </a:lnTo>
                    <a:lnTo>
                      <a:pt x="113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5" name="Freeform 60"/>
              <p:cNvSpPr>
                <a:spLocks/>
              </p:cNvSpPr>
              <p:nvPr/>
            </p:nvSpPr>
            <p:spPr bwMode="auto">
              <a:xfrm>
                <a:off x="3188" y="1242"/>
                <a:ext cx="150" cy="115"/>
              </a:xfrm>
              <a:custGeom>
                <a:avLst/>
                <a:gdLst>
                  <a:gd name="T0" fmla="*/ 150 w 150"/>
                  <a:gd name="T1" fmla="*/ 0 h 115"/>
                  <a:gd name="T2" fmla="*/ 150 w 150"/>
                  <a:gd name="T3" fmla="*/ 28 h 115"/>
                  <a:gd name="T4" fmla="*/ 0 w 150"/>
                  <a:gd name="T5" fmla="*/ 115 h 115"/>
                  <a:gd name="T6" fmla="*/ 0 w 150"/>
                  <a:gd name="T7" fmla="*/ 87 h 115"/>
                  <a:gd name="T8" fmla="*/ 150 w 150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115">
                    <a:moveTo>
                      <a:pt x="150" y="0"/>
                    </a:moveTo>
                    <a:lnTo>
                      <a:pt x="150" y="28"/>
                    </a:lnTo>
                    <a:lnTo>
                      <a:pt x="0" y="115"/>
                    </a:lnTo>
                    <a:lnTo>
                      <a:pt x="0" y="87"/>
                    </a:lnTo>
                    <a:lnTo>
                      <a:pt x="150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6" name="Freeform 61"/>
              <p:cNvSpPr>
                <a:spLocks/>
              </p:cNvSpPr>
              <p:nvPr/>
            </p:nvSpPr>
            <p:spPr bwMode="auto">
              <a:xfrm>
                <a:off x="3106" y="982"/>
                <a:ext cx="43" cy="275"/>
              </a:xfrm>
              <a:custGeom>
                <a:avLst/>
                <a:gdLst>
                  <a:gd name="T0" fmla="*/ 42 w 43"/>
                  <a:gd name="T1" fmla="*/ 0 h 275"/>
                  <a:gd name="T2" fmla="*/ 43 w 43"/>
                  <a:gd name="T3" fmla="*/ 251 h 275"/>
                  <a:gd name="T4" fmla="*/ 0 w 43"/>
                  <a:gd name="T5" fmla="*/ 275 h 275"/>
                  <a:gd name="T6" fmla="*/ 0 w 43"/>
                  <a:gd name="T7" fmla="*/ 24 h 275"/>
                  <a:gd name="T8" fmla="*/ 42 w 43"/>
                  <a:gd name="T9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5">
                    <a:moveTo>
                      <a:pt x="42" y="0"/>
                    </a:moveTo>
                    <a:lnTo>
                      <a:pt x="43" y="251"/>
                    </a:lnTo>
                    <a:lnTo>
                      <a:pt x="0" y="275"/>
                    </a:lnTo>
                    <a:lnTo>
                      <a:pt x="0" y="2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7" name="Freeform 62"/>
              <p:cNvSpPr>
                <a:spLocks/>
              </p:cNvSpPr>
              <p:nvPr/>
            </p:nvSpPr>
            <p:spPr bwMode="auto">
              <a:xfrm>
                <a:off x="3169" y="988"/>
                <a:ext cx="43" cy="233"/>
              </a:xfrm>
              <a:custGeom>
                <a:avLst/>
                <a:gdLst>
                  <a:gd name="T0" fmla="*/ 42 w 43"/>
                  <a:gd name="T1" fmla="*/ 0 h 233"/>
                  <a:gd name="T2" fmla="*/ 43 w 43"/>
                  <a:gd name="T3" fmla="*/ 208 h 233"/>
                  <a:gd name="T4" fmla="*/ 1 w 43"/>
                  <a:gd name="T5" fmla="*/ 233 h 233"/>
                  <a:gd name="T6" fmla="*/ 0 w 43"/>
                  <a:gd name="T7" fmla="*/ 24 h 233"/>
                  <a:gd name="T8" fmla="*/ 42 w 43"/>
                  <a:gd name="T9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33">
                    <a:moveTo>
                      <a:pt x="42" y="0"/>
                    </a:moveTo>
                    <a:lnTo>
                      <a:pt x="43" y="208"/>
                    </a:lnTo>
                    <a:lnTo>
                      <a:pt x="1" y="233"/>
                    </a:lnTo>
                    <a:lnTo>
                      <a:pt x="0" y="2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8" name="Freeform 63"/>
              <p:cNvSpPr>
                <a:spLocks/>
              </p:cNvSpPr>
              <p:nvPr/>
            </p:nvSpPr>
            <p:spPr bwMode="auto">
              <a:xfrm>
                <a:off x="3232" y="857"/>
                <a:ext cx="42" cy="327"/>
              </a:xfrm>
              <a:custGeom>
                <a:avLst/>
                <a:gdLst>
                  <a:gd name="T0" fmla="*/ 42 w 42"/>
                  <a:gd name="T1" fmla="*/ 0 h 327"/>
                  <a:gd name="T2" fmla="*/ 42 w 42"/>
                  <a:gd name="T3" fmla="*/ 303 h 327"/>
                  <a:gd name="T4" fmla="*/ 1 w 42"/>
                  <a:gd name="T5" fmla="*/ 327 h 327"/>
                  <a:gd name="T6" fmla="*/ 0 w 42"/>
                  <a:gd name="T7" fmla="*/ 24 h 327"/>
                  <a:gd name="T8" fmla="*/ 42 w 42"/>
                  <a:gd name="T9" fmla="*/ 0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27">
                    <a:moveTo>
                      <a:pt x="42" y="0"/>
                    </a:moveTo>
                    <a:lnTo>
                      <a:pt x="42" y="303"/>
                    </a:lnTo>
                    <a:lnTo>
                      <a:pt x="1" y="327"/>
                    </a:lnTo>
                    <a:lnTo>
                      <a:pt x="0" y="2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Freeform 64"/>
              <p:cNvSpPr>
                <a:spLocks/>
              </p:cNvSpPr>
              <p:nvPr/>
            </p:nvSpPr>
            <p:spPr bwMode="auto">
              <a:xfrm>
                <a:off x="3295" y="768"/>
                <a:ext cx="43" cy="380"/>
              </a:xfrm>
              <a:custGeom>
                <a:avLst/>
                <a:gdLst>
                  <a:gd name="T0" fmla="*/ 42 w 43"/>
                  <a:gd name="T1" fmla="*/ 0 h 380"/>
                  <a:gd name="T2" fmla="*/ 43 w 43"/>
                  <a:gd name="T3" fmla="*/ 356 h 380"/>
                  <a:gd name="T4" fmla="*/ 1 w 43"/>
                  <a:gd name="T5" fmla="*/ 380 h 380"/>
                  <a:gd name="T6" fmla="*/ 0 w 43"/>
                  <a:gd name="T7" fmla="*/ 25 h 380"/>
                  <a:gd name="T8" fmla="*/ 42 w 43"/>
                  <a:gd name="T9" fmla="*/ 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80">
                    <a:moveTo>
                      <a:pt x="42" y="0"/>
                    </a:moveTo>
                    <a:lnTo>
                      <a:pt x="43" y="356"/>
                    </a:lnTo>
                    <a:lnTo>
                      <a:pt x="1" y="380"/>
                    </a:lnTo>
                    <a:lnTo>
                      <a:pt x="0" y="25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 65"/>
              <p:cNvSpPr>
                <a:spLocks/>
              </p:cNvSpPr>
              <p:nvPr/>
            </p:nvSpPr>
            <p:spPr bwMode="auto">
              <a:xfrm>
                <a:off x="3160" y="1353"/>
                <a:ext cx="178" cy="132"/>
              </a:xfrm>
              <a:custGeom>
                <a:avLst/>
                <a:gdLst>
                  <a:gd name="T0" fmla="*/ 178 w 178"/>
                  <a:gd name="T1" fmla="*/ 0 h 132"/>
                  <a:gd name="T2" fmla="*/ 178 w 178"/>
                  <a:gd name="T3" fmla="*/ 29 h 132"/>
                  <a:gd name="T4" fmla="*/ 0 w 178"/>
                  <a:gd name="T5" fmla="*/ 132 h 132"/>
                  <a:gd name="T6" fmla="*/ 0 w 178"/>
                  <a:gd name="T7" fmla="*/ 104 h 132"/>
                  <a:gd name="T8" fmla="*/ 178 w 178"/>
                  <a:gd name="T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32">
                    <a:moveTo>
                      <a:pt x="178" y="0"/>
                    </a:moveTo>
                    <a:lnTo>
                      <a:pt x="178" y="29"/>
                    </a:lnTo>
                    <a:lnTo>
                      <a:pt x="0" y="132"/>
                    </a:lnTo>
                    <a:lnTo>
                      <a:pt x="0" y="104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 66"/>
              <p:cNvSpPr>
                <a:spLocks/>
              </p:cNvSpPr>
              <p:nvPr/>
            </p:nvSpPr>
            <p:spPr bwMode="auto">
              <a:xfrm>
                <a:off x="3043" y="1298"/>
                <a:ext cx="295" cy="198"/>
              </a:xfrm>
              <a:custGeom>
                <a:avLst/>
                <a:gdLst>
                  <a:gd name="T0" fmla="*/ 295 w 295"/>
                  <a:gd name="T1" fmla="*/ 0 h 198"/>
                  <a:gd name="T2" fmla="*/ 295 w 295"/>
                  <a:gd name="T3" fmla="*/ 28 h 198"/>
                  <a:gd name="T4" fmla="*/ 1 w 295"/>
                  <a:gd name="T5" fmla="*/ 198 h 198"/>
                  <a:gd name="T6" fmla="*/ 0 w 295"/>
                  <a:gd name="T7" fmla="*/ 170 h 198"/>
                  <a:gd name="T8" fmla="*/ 295 w 295"/>
                  <a:gd name="T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198">
                    <a:moveTo>
                      <a:pt x="295" y="0"/>
                    </a:moveTo>
                    <a:lnTo>
                      <a:pt x="295" y="28"/>
                    </a:lnTo>
                    <a:lnTo>
                      <a:pt x="1" y="198"/>
                    </a:lnTo>
                    <a:lnTo>
                      <a:pt x="0" y="170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2" name="Freeform 67"/>
              <p:cNvSpPr>
                <a:spLocks/>
              </p:cNvSpPr>
              <p:nvPr/>
            </p:nvSpPr>
            <p:spPr bwMode="auto">
              <a:xfrm>
                <a:off x="3043" y="1237"/>
                <a:ext cx="208" cy="147"/>
              </a:xfrm>
              <a:custGeom>
                <a:avLst/>
                <a:gdLst>
                  <a:gd name="T0" fmla="*/ 208 w 208"/>
                  <a:gd name="T1" fmla="*/ 0 h 147"/>
                  <a:gd name="T2" fmla="*/ 208 w 208"/>
                  <a:gd name="T3" fmla="*/ 28 h 147"/>
                  <a:gd name="T4" fmla="*/ 0 w 208"/>
                  <a:gd name="T5" fmla="*/ 147 h 147"/>
                  <a:gd name="T6" fmla="*/ 0 w 208"/>
                  <a:gd name="T7" fmla="*/ 119 h 147"/>
                  <a:gd name="T8" fmla="*/ 208 w 208"/>
                  <a:gd name="T9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47">
                    <a:moveTo>
                      <a:pt x="208" y="0"/>
                    </a:moveTo>
                    <a:lnTo>
                      <a:pt x="208" y="28"/>
                    </a:lnTo>
                    <a:lnTo>
                      <a:pt x="0" y="147"/>
                    </a:lnTo>
                    <a:lnTo>
                      <a:pt x="0" y="119"/>
                    </a:ln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Freeform 68"/>
              <p:cNvSpPr>
                <a:spLocks/>
              </p:cNvSpPr>
              <p:nvPr/>
            </p:nvSpPr>
            <p:spPr bwMode="auto">
              <a:xfrm>
                <a:off x="3043" y="1145"/>
                <a:ext cx="295" cy="184"/>
              </a:xfrm>
              <a:custGeom>
                <a:avLst/>
                <a:gdLst>
                  <a:gd name="T0" fmla="*/ 295 w 295"/>
                  <a:gd name="T1" fmla="*/ 0 h 184"/>
                  <a:gd name="T2" fmla="*/ 295 w 295"/>
                  <a:gd name="T3" fmla="*/ 14 h 184"/>
                  <a:gd name="T4" fmla="*/ 0 w 295"/>
                  <a:gd name="T5" fmla="*/ 184 h 184"/>
                  <a:gd name="T6" fmla="*/ 0 w 295"/>
                  <a:gd name="T7" fmla="*/ 170 h 184"/>
                  <a:gd name="T8" fmla="*/ 295 w 295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184">
                    <a:moveTo>
                      <a:pt x="295" y="0"/>
                    </a:moveTo>
                    <a:lnTo>
                      <a:pt x="295" y="14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295" y="0"/>
                    </a:lnTo>
                    <a:close/>
                  </a:path>
                </a:pathLst>
              </a:custGeom>
              <a:solidFill>
                <a:srgbClr val="2655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4" name="Freeform 69"/>
              <p:cNvSpPr>
                <a:spLocks/>
              </p:cNvSpPr>
              <p:nvPr/>
            </p:nvSpPr>
            <p:spPr bwMode="auto">
              <a:xfrm>
                <a:off x="3043" y="1122"/>
                <a:ext cx="43" cy="171"/>
              </a:xfrm>
              <a:custGeom>
                <a:avLst/>
                <a:gdLst>
                  <a:gd name="T0" fmla="*/ 42 w 43"/>
                  <a:gd name="T1" fmla="*/ 0 h 171"/>
                  <a:gd name="T2" fmla="*/ 43 w 43"/>
                  <a:gd name="T3" fmla="*/ 147 h 171"/>
                  <a:gd name="T4" fmla="*/ 0 w 43"/>
                  <a:gd name="T5" fmla="*/ 171 h 171"/>
                  <a:gd name="T6" fmla="*/ 0 w 43"/>
                  <a:gd name="T7" fmla="*/ 24 h 171"/>
                  <a:gd name="T8" fmla="*/ 42 w 43"/>
                  <a:gd name="T9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171">
                    <a:moveTo>
                      <a:pt x="42" y="0"/>
                    </a:moveTo>
                    <a:lnTo>
                      <a:pt x="43" y="147"/>
                    </a:lnTo>
                    <a:lnTo>
                      <a:pt x="0" y="171"/>
                    </a:lnTo>
                    <a:lnTo>
                      <a:pt x="0" y="2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 70"/>
              <p:cNvSpPr>
                <a:spLocks/>
              </p:cNvSpPr>
              <p:nvPr/>
            </p:nvSpPr>
            <p:spPr bwMode="auto">
              <a:xfrm>
                <a:off x="3044" y="1479"/>
                <a:ext cx="77" cy="73"/>
              </a:xfrm>
              <a:custGeom>
                <a:avLst/>
                <a:gdLst>
                  <a:gd name="T0" fmla="*/ 77 w 77"/>
                  <a:gd name="T1" fmla="*/ 0 h 73"/>
                  <a:gd name="T2" fmla="*/ 77 w 77"/>
                  <a:gd name="T3" fmla="*/ 28 h 73"/>
                  <a:gd name="T4" fmla="*/ 0 w 77"/>
                  <a:gd name="T5" fmla="*/ 73 h 73"/>
                  <a:gd name="T6" fmla="*/ 0 w 77"/>
                  <a:gd name="T7" fmla="*/ 45 h 73"/>
                  <a:gd name="T8" fmla="*/ 77 w 77"/>
                  <a:gd name="T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73">
                    <a:moveTo>
                      <a:pt x="77" y="0"/>
                    </a:moveTo>
                    <a:lnTo>
                      <a:pt x="77" y="28"/>
                    </a:lnTo>
                    <a:lnTo>
                      <a:pt x="0" y="73"/>
                    </a:lnTo>
                    <a:lnTo>
                      <a:pt x="0" y="45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 71"/>
              <p:cNvSpPr>
                <a:spLocks/>
              </p:cNvSpPr>
              <p:nvPr/>
            </p:nvSpPr>
            <p:spPr bwMode="auto">
              <a:xfrm>
                <a:off x="5199" y="1644"/>
                <a:ext cx="89" cy="142"/>
              </a:xfrm>
              <a:custGeom>
                <a:avLst/>
                <a:gdLst>
                  <a:gd name="T0" fmla="*/ 185 w 185"/>
                  <a:gd name="T1" fmla="*/ 0 h 295"/>
                  <a:gd name="T2" fmla="*/ 0 w 185"/>
                  <a:gd name="T3" fmla="*/ 282 h 295"/>
                  <a:gd name="T4" fmla="*/ 0 w 185"/>
                  <a:gd name="T5" fmla="*/ 0 h 295"/>
                  <a:gd name="T6" fmla="*/ 185 w 185"/>
                  <a:gd name="T7" fmla="*/ 0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5" h="295">
                    <a:moveTo>
                      <a:pt x="185" y="0"/>
                    </a:moveTo>
                    <a:cubicBezTo>
                      <a:pt x="161" y="268"/>
                      <a:pt x="182" y="295"/>
                      <a:pt x="0" y="282"/>
                    </a:cubicBezTo>
                    <a:lnTo>
                      <a:pt x="0" y="0"/>
                    </a:lnTo>
                    <a:lnTo>
                      <a:pt x="185" y="0"/>
                    </a:lnTo>
                    <a:close/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 72"/>
              <p:cNvSpPr>
                <a:spLocks/>
              </p:cNvSpPr>
              <p:nvPr/>
            </p:nvSpPr>
            <p:spPr bwMode="auto">
              <a:xfrm>
                <a:off x="5193" y="1408"/>
                <a:ext cx="142" cy="269"/>
              </a:xfrm>
              <a:custGeom>
                <a:avLst/>
                <a:gdLst>
                  <a:gd name="T0" fmla="*/ 0 w 296"/>
                  <a:gd name="T1" fmla="*/ 10 h 560"/>
                  <a:gd name="T2" fmla="*/ 210 w 296"/>
                  <a:gd name="T3" fmla="*/ 517 h 560"/>
                  <a:gd name="T4" fmla="*/ 0 w 296"/>
                  <a:gd name="T5" fmla="*/ 536 h 560"/>
                  <a:gd name="T6" fmla="*/ 0 w 296"/>
                  <a:gd name="T7" fmla="*/ 1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6" h="560">
                    <a:moveTo>
                      <a:pt x="0" y="10"/>
                    </a:moveTo>
                    <a:cubicBezTo>
                      <a:pt x="162" y="0"/>
                      <a:pt x="296" y="55"/>
                      <a:pt x="210" y="517"/>
                    </a:cubicBezTo>
                    <a:cubicBezTo>
                      <a:pt x="131" y="560"/>
                      <a:pt x="0" y="536"/>
                      <a:pt x="0" y="536"/>
                    </a:cubicBez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 73"/>
              <p:cNvSpPr>
                <a:spLocks/>
              </p:cNvSpPr>
              <p:nvPr/>
            </p:nvSpPr>
            <p:spPr bwMode="auto">
              <a:xfrm>
                <a:off x="4748" y="2901"/>
                <a:ext cx="303" cy="66"/>
              </a:xfrm>
              <a:custGeom>
                <a:avLst/>
                <a:gdLst>
                  <a:gd name="T0" fmla="*/ 627 w 631"/>
                  <a:gd name="T1" fmla="*/ 50 h 138"/>
                  <a:gd name="T2" fmla="*/ 537 w 631"/>
                  <a:gd name="T3" fmla="*/ 110 h 138"/>
                  <a:gd name="T4" fmla="*/ 424 w 631"/>
                  <a:gd name="T5" fmla="*/ 96 h 138"/>
                  <a:gd name="T6" fmla="*/ 176 w 631"/>
                  <a:gd name="T7" fmla="*/ 94 h 138"/>
                  <a:gd name="T8" fmla="*/ 94 w 631"/>
                  <a:gd name="T9" fmla="*/ 85 h 138"/>
                  <a:gd name="T10" fmla="*/ 24 w 631"/>
                  <a:gd name="T11" fmla="*/ 44 h 138"/>
                  <a:gd name="T12" fmla="*/ 4 w 631"/>
                  <a:gd name="T13" fmla="*/ 0 h 138"/>
                  <a:gd name="T14" fmla="*/ 24 w 631"/>
                  <a:gd name="T15" fmla="*/ 68 h 138"/>
                  <a:gd name="T16" fmla="*/ 94 w 631"/>
                  <a:gd name="T17" fmla="*/ 109 h 138"/>
                  <a:gd name="T18" fmla="*/ 176 w 631"/>
                  <a:gd name="T19" fmla="*/ 118 h 138"/>
                  <a:gd name="T20" fmla="*/ 424 w 631"/>
                  <a:gd name="T21" fmla="*/ 120 h 138"/>
                  <a:gd name="T22" fmla="*/ 537 w 631"/>
                  <a:gd name="T23" fmla="*/ 135 h 138"/>
                  <a:gd name="T24" fmla="*/ 627 w 631"/>
                  <a:gd name="T25" fmla="*/ 75 h 138"/>
                  <a:gd name="T26" fmla="*/ 630 w 631"/>
                  <a:gd name="T27" fmla="*/ 36 h 138"/>
                  <a:gd name="T28" fmla="*/ 627 w 631"/>
                  <a:gd name="T29" fmla="*/ 5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1" h="138">
                    <a:moveTo>
                      <a:pt x="627" y="50"/>
                    </a:moveTo>
                    <a:cubicBezTo>
                      <a:pt x="615" y="86"/>
                      <a:pt x="575" y="107"/>
                      <a:pt x="537" y="110"/>
                    </a:cubicBezTo>
                    <a:cubicBezTo>
                      <a:pt x="499" y="113"/>
                      <a:pt x="462" y="103"/>
                      <a:pt x="424" y="96"/>
                    </a:cubicBezTo>
                    <a:cubicBezTo>
                      <a:pt x="340" y="81"/>
                      <a:pt x="260" y="96"/>
                      <a:pt x="176" y="94"/>
                    </a:cubicBezTo>
                    <a:cubicBezTo>
                      <a:pt x="148" y="93"/>
                      <a:pt x="121" y="92"/>
                      <a:pt x="94" y="85"/>
                    </a:cubicBezTo>
                    <a:cubicBezTo>
                      <a:pt x="68" y="78"/>
                      <a:pt x="42" y="65"/>
                      <a:pt x="24" y="44"/>
                    </a:cubicBezTo>
                    <a:cubicBezTo>
                      <a:pt x="14" y="31"/>
                      <a:pt x="7" y="16"/>
                      <a:pt x="4" y="0"/>
                    </a:cubicBezTo>
                    <a:cubicBezTo>
                      <a:pt x="0" y="24"/>
                      <a:pt x="8" y="49"/>
                      <a:pt x="24" y="68"/>
                    </a:cubicBezTo>
                    <a:cubicBezTo>
                      <a:pt x="42" y="89"/>
                      <a:pt x="68" y="102"/>
                      <a:pt x="94" y="109"/>
                    </a:cubicBezTo>
                    <a:cubicBezTo>
                      <a:pt x="121" y="116"/>
                      <a:pt x="148" y="118"/>
                      <a:pt x="176" y="118"/>
                    </a:cubicBezTo>
                    <a:cubicBezTo>
                      <a:pt x="260" y="120"/>
                      <a:pt x="340" y="105"/>
                      <a:pt x="424" y="120"/>
                    </a:cubicBezTo>
                    <a:cubicBezTo>
                      <a:pt x="462" y="127"/>
                      <a:pt x="499" y="138"/>
                      <a:pt x="537" y="135"/>
                    </a:cubicBezTo>
                    <a:cubicBezTo>
                      <a:pt x="575" y="132"/>
                      <a:pt x="615" y="111"/>
                      <a:pt x="627" y="75"/>
                    </a:cubicBezTo>
                    <a:cubicBezTo>
                      <a:pt x="631" y="62"/>
                      <a:pt x="631" y="49"/>
                      <a:pt x="630" y="36"/>
                    </a:cubicBezTo>
                    <a:cubicBezTo>
                      <a:pt x="629" y="41"/>
                      <a:pt x="628" y="46"/>
                      <a:pt x="627" y="50"/>
                    </a:cubicBez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 74"/>
              <p:cNvSpPr>
                <a:spLocks/>
              </p:cNvSpPr>
              <p:nvPr/>
            </p:nvSpPr>
            <p:spPr bwMode="auto">
              <a:xfrm>
                <a:off x="4749" y="2816"/>
                <a:ext cx="303" cy="139"/>
              </a:xfrm>
              <a:custGeom>
                <a:avLst/>
                <a:gdLst>
                  <a:gd name="T0" fmla="*/ 622 w 630"/>
                  <a:gd name="T1" fmla="*/ 158 h 290"/>
                  <a:gd name="T2" fmla="*/ 607 w 630"/>
                  <a:gd name="T3" fmla="*/ 81 h 290"/>
                  <a:gd name="T4" fmla="*/ 594 w 630"/>
                  <a:gd name="T5" fmla="*/ 43 h 290"/>
                  <a:gd name="T6" fmla="*/ 560 w 630"/>
                  <a:gd name="T7" fmla="*/ 23 h 290"/>
                  <a:gd name="T8" fmla="*/ 411 w 630"/>
                  <a:gd name="T9" fmla="*/ 27 h 290"/>
                  <a:gd name="T10" fmla="*/ 206 w 630"/>
                  <a:gd name="T11" fmla="*/ 86 h 290"/>
                  <a:gd name="T12" fmla="*/ 92 w 630"/>
                  <a:gd name="T13" fmla="*/ 82 h 290"/>
                  <a:gd name="T14" fmla="*/ 4 w 630"/>
                  <a:gd name="T15" fmla="*/ 144 h 290"/>
                  <a:gd name="T16" fmla="*/ 2 w 630"/>
                  <a:gd name="T17" fmla="*/ 177 h 290"/>
                  <a:gd name="T18" fmla="*/ 22 w 630"/>
                  <a:gd name="T19" fmla="*/ 221 h 290"/>
                  <a:gd name="T20" fmla="*/ 92 w 630"/>
                  <a:gd name="T21" fmla="*/ 262 h 290"/>
                  <a:gd name="T22" fmla="*/ 174 w 630"/>
                  <a:gd name="T23" fmla="*/ 271 h 290"/>
                  <a:gd name="T24" fmla="*/ 422 w 630"/>
                  <a:gd name="T25" fmla="*/ 273 h 290"/>
                  <a:gd name="T26" fmla="*/ 535 w 630"/>
                  <a:gd name="T27" fmla="*/ 287 h 290"/>
                  <a:gd name="T28" fmla="*/ 625 w 630"/>
                  <a:gd name="T29" fmla="*/ 227 h 290"/>
                  <a:gd name="T30" fmla="*/ 628 w 630"/>
                  <a:gd name="T31" fmla="*/ 213 h 290"/>
                  <a:gd name="T32" fmla="*/ 622 w 630"/>
                  <a:gd name="T33" fmla="*/ 15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0" h="290">
                    <a:moveTo>
                      <a:pt x="622" y="158"/>
                    </a:moveTo>
                    <a:cubicBezTo>
                      <a:pt x="617" y="132"/>
                      <a:pt x="612" y="107"/>
                      <a:pt x="607" y="81"/>
                    </a:cubicBezTo>
                    <a:cubicBezTo>
                      <a:pt x="604" y="68"/>
                      <a:pt x="601" y="54"/>
                      <a:pt x="594" y="43"/>
                    </a:cubicBezTo>
                    <a:cubicBezTo>
                      <a:pt x="587" y="31"/>
                      <a:pt x="574" y="22"/>
                      <a:pt x="560" y="23"/>
                    </a:cubicBezTo>
                    <a:cubicBezTo>
                      <a:pt x="514" y="17"/>
                      <a:pt x="450" y="0"/>
                      <a:pt x="411" y="27"/>
                    </a:cubicBezTo>
                    <a:cubicBezTo>
                      <a:pt x="352" y="68"/>
                      <a:pt x="278" y="89"/>
                      <a:pt x="206" y="86"/>
                    </a:cubicBezTo>
                    <a:cubicBezTo>
                      <a:pt x="168" y="85"/>
                      <a:pt x="130" y="77"/>
                      <a:pt x="92" y="82"/>
                    </a:cubicBezTo>
                    <a:cubicBezTo>
                      <a:pt x="54" y="86"/>
                      <a:pt x="15" y="107"/>
                      <a:pt x="4" y="144"/>
                    </a:cubicBezTo>
                    <a:cubicBezTo>
                      <a:pt x="1" y="155"/>
                      <a:pt x="0" y="166"/>
                      <a:pt x="2" y="177"/>
                    </a:cubicBezTo>
                    <a:cubicBezTo>
                      <a:pt x="5" y="193"/>
                      <a:pt x="12" y="208"/>
                      <a:pt x="22" y="221"/>
                    </a:cubicBezTo>
                    <a:cubicBezTo>
                      <a:pt x="40" y="242"/>
                      <a:pt x="66" y="255"/>
                      <a:pt x="92" y="262"/>
                    </a:cubicBezTo>
                    <a:cubicBezTo>
                      <a:pt x="119" y="269"/>
                      <a:pt x="146" y="270"/>
                      <a:pt x="174" y="271"/>
                    </a:cubicBezTo>
                    <a:cubicBezTo>
                      <a:pt x="258" y="273"/>
                      <a:pt x="338" y="258"/>
                      <a:pt x="422" y="273"/>
                    </a:cubicBezTo>
                    <a:cubicBezTo>
                      <a:pt x="460" y="280"/>
                      <a:pt x="497" y="290"/>
                      <a:pt x="535" y="287"/>
                    </a:cubicBezTo>
                    <a:cubicBezTo>
                      <a:pt x="573" y="284"/>
                      <a:pt x="613" y="263"/>
                      <a:pt x="625" y="227"/>
                    </a:cubicBezTo>
                    <a:cubicBezTo>
                      <a:pt x="626" y="223"/>
                      <a:pt x="627" y="218"/>
                      <a:pt x="628" y="213"/>
                    </a:cubicBezTo>
                    <a:cubicBezTo>
                      <a:pt x="630" y="195"/>
                      <a:pt x="626" y="176"/>
                      <a:pt x="622" y="158"/>
                    </a:cubicBez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 75"/>
              <p:cNvSpPr>
                <a:spLocks/>
              </p:cNvSpPr>
              <p:nvPr/>
            </p:nvSpPr>
            <p:spPr bwMode="auto">
              <a:xfrm>
                <a:off x="4940" y="2790"/>
                <a:ext cx="92" cy="68"/>
              </a:xfrm>
              <a:custGeom>
                <a:avLst/>
                <a:gdLst>
                  <a:gd name="T0" fmla="*/ 4 w 193"/>
                  <a:gd name="T1" fmla="*/ 0 h 142"/>
                  <a:gd name="T2" fmla="*/ 1 w 193"/>
                  <a:gd name="T3" fmla="*/ 99 h 142"/>
                  <a:gd name="T4" fmla="*/ 37 w 193"/>
                  <a:gd name="T5" fmla="*/ 140 h 142"/>
                  <a:gd name="T6" fmla="*/ 138 w 193"/>
                  <a:gd name="T7" fmla="*/ 139 h 142"/>
                  <a:gd name="T8" fmla="*/ 189 w 193"/>
                  <a:gd name="T9" fmla="*/ 86 h 142"/>
                  <a:gd name="T10" fmla="*/ 193 w 193"/>
                  <a:gd name="T11" fmla="*/ 12 h 142"/>
                  <a:gd name="T12" fmla="*/ 4 w 193"/>
                  <a:gd name="T13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3" h="142">
                    <a:moveTo>
                      <a:pt x="4" y="0"/>
                    </a:moveTo>
                    <a:lnTo>
                      <a:pt x="1" y="99"/>
                    </a:lnTo>
                    <a:cubicBezTo>
                      <a:pt x="0" y="120"/>
                      <a:pt x="16" y="138"/>
                      <a:pt x="37" y="140"/>
                    </a:cubicBezTo>
                    <a:cubicBezTo>
                      <a:pt x="72" y="142"/>
                      <a:pt x="105" y="142"/>
                      <a:pt x="138" y="139"/>
                    </a:cubicBezTo>
                    <a:cubicBezTo>
                      <a:pt x="165" y="136"/>
                      <a:pt x="187" y="114"/>
                      <a:pt x="189" y="86"/>
                    </a:cubicBezTo>
                    <a:lnTo>
                      <a:pt x="193" y="1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 76"/>
              <p:cNvSpPr>
                <a:spLocks/>
              </p:cNvSpPr>
              <p:nvPr/>
            </p:nvSpPr>
            <p:spPr bwMode="auto">
              <a:xfrm>
                <a:off x="5075" y="2645"/>
                <a:ext cx="179" cy="167"/>
              </a:xfrm>
              <a:custGeom>
                <a:avLst/>
                <a:gdLst>
                  <a:gd name="T0" fmla="*/ 371 w 372"/>
                  <a:gd name="T1" fmla="*/ 249 h 348"/>
                  <a:gd name="T2" fmla="*/ 358 w 372"/>
                  <a:gd name="T3" fmla="*/ 290 h 348"/>
                  <a:gd name="T4" fmla="*/ 311 w 372"/>
                  <a:gd name="T5" fmla="*/ 316 h 348"/>
                  <a:gd name="T6" fmla="*/ 194 w 372"/>
                  <a:gd name="T7" fmla="*/ 269 h 348"/>
                  <a:gd name="T8" fmla="*/ 163 w 372"/>
                  <a:gd name="T9" fmla="*/ 211 h 348"/>
                  <a:gd name="T10" fmla="*/ 98 w 372"/>
                  <a:gd name="T11" fmla="*/ 147 h 348"/>
                  <a:gd name="T12" fmla="*/ 32 w 372"/>
                  <a:gd name="T13" fmla="*/ 84 h 348"/>
                  <a:gd name="T14" fmla="*/ 19 w 372"/>
                  <a:gd name="T15" fmla="*/ 0 h 348"/>
                  <a:gd name="T16" fmla="*/ 13 w 372"/>
                  <a:gd name="T17" fmla="*/ 11 h 348"/>
                  <a:gd name="T18" fmla="*/ 25 w 372"/>
                  <a:gd name="T19" fmla="*/ 100 h 348"/>
                  <a:gd name="T20" fmla="*/ 92 w 372"/>
                  <a:gd name="T21" fmla="*/ 165 h 348"/>
                  <a:gd name="T22" fmla="*/ 159 w 372"/>
                  <a:gd name="T23" fmla="*/ 231 h 348"/>
                  <a:gd name="T24" fmla="*/ 191 w 372"/>
                  <a:gd name="T25" fmla="*/ 290 h 348"/>
                  <a:gd name="T26" fmla="*/ 309 w 372"/>
                  <a:gd name="T27" fmla="*/ 340 h 348"/>
                  <a:gd name="T28" fmla="*/ 357 w 372"/>
                  <a:gd name="T29" fmla="*/ 312 h 348"/>
                  <a:gd name="T30" fmla="*/ 371 w 372"/>
                  <a:gd name="T31" fmla="*/ 255 h 348"/>
                  <a:gd name="T32" fmla="*/ 371 w 372"/>
                  <a:gd name="T33" fmla="*/ 24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2" h="348">
                    <a:moveTo>
                      <a:pt x="371" y="249"/>
                    </a:moveTo>
                    <a:cubicBezTo>
                      <a:pt x="370" y="264"/>
                      <a:pt x="366" y="278"/>
                      <a:pt x="358" y="290"/>
                    </a:cubicBezTo>
                    <a:cubicBezTo>
                      <a:pt x="347" y="305"/>
                      <a:pt x="329" y="313"/>
                      <a:pt x="311" y="316"/>
                    </a:cubicBezTo>
                    <a:cubicBezTo>
                      <a:pt x="267" y="325"/>
                      <a:pt x="220" y="305"/>
                      <a:pt x="194" y="269"/>
                    </a:cubicBezTo>
                    <a:cubicBezTo>
                      <a:pt x="182" y="250"/>
                      <a:pt x="175" y="229"/>
                      <a:pt x="163" y="211"/>
                    </a:cubicBezTo>
                    <a:cubicBezTo>
                      <a:pt x="146" y="185"/>
                      <a:pt x="122" y="166"/>
                      <a:pt x="98" y="147"/>
                    </a:cubicBezTo>
                    <a:cubicBezTo>
                      <a:pt x="73" y="129"/>
                      <a:pt x="49" y="110"/>
                      <a:pt x="32" y="84"/>
                    </a:cubicBezTo>
                    <a:cubicBezTo>
                      <a:pt x="16" y="60"/>
                      <a:pt x="8" y="27"/>
                      <a:pt x="19" y="0"/>
                    </a:cubicBezTo>
                    <a:cubicBezTo>
                      <a:pt x="17" y="4"/>
                      <a:pt x="15" y="7"/>
                      <a:pt x="13" y="11"/>
                    </a:cubicBezTo>
                    <a:cubicBezTo>
                      <a:pt x="0" y="39"/>
                      <a:pt x="8" y="74"/>
                      <a:pt x="25" y="100"/>
                    </a:cubicBezTo>
                    <a:cubicBezTo>
                      <a:pt x="42" y="126"/>
                      <a:pt x="67" y="146"/>
                      <a:pt x="92" y="165"/>
                    </a:cubicBezTo>
                    <a:cubicBezTo>
                      <a:pt x="117" y="184"/>
                      <a:pt x="142" y="204"/>
                      <a:pt x="159" y="231"/>
                    </a:cubicBezTo>
                    <a:cubicBezTo>
                      <a:pt x="171" y="250"/>
                      <a:pt x="178" y="272"/>
                      <a:pt x="191" y="290"/>
                    </a:cubicBezTo>
                    <a:cubicBezTo>
                      <a:pt x="216" y="328"/>
                      <a:pt x="265" y="348"/>
                      <a:pt x="309" y="340"/>
                    </a:cubicBezTo>
                    <a:cubicBezTo>
                      <a:pt x="328" y="336"/>
                      <a:pt x="346" y="328"/>
                      <a:pt x="357" y="312"/>
                    </a:cubicBezTo>
                    <a:cubicBezTo>
                      <a:pt x="369" y="296"/>
                      <a:pt x="372" y="275"/>
                      <a:pt x="371" y="255"/>
                    </a:cubicBezTo>
                    <a:cubicBezTo>
                      <a:pt x="371" y="253"/>
                      <a:pt x="371" y="251"/>
                      <a:pt x="371" y="249"/>
                    </a:cubicBez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 77"/>
              <p:cNvSpPr>
                <a:spLocks/>
              </p:cNvSpPr>
              <p:nvPr/>
            </p:nvSpPr>
            <p:spPr bwMode="auto">
              <a:xfrm>
                <a:off x="5079" y="2621"/>
                <a:ext cx="174" cy="180"/>
              </a:xfrm>
              <a:custGeom>
                <a:avLst/>
                <a:gdLst>
                  <a:gd name="T0" fmla="*/ 333 w 363"/>
                  <a:gd name="T1" fmla="*/ 174 h 375"/>
                  <a:gd name="T2" fmla="*/ 192 w 363"/>
                  <a:gd name="T3" fmla="*/ 45 h 375"/>
                  <a:gd name="T4" fmla="*/ 99 w 363"/>
                  <a:gd name="T5" fmla="*/ 3 h 375"/>
                  <a:gd name="T6" fmla="*/ 12 w 363"/>
                  <a:gd name="T7" fmla="*/ 47 h 375"/>
                  <a:gd name="T8" fmla="*/ 11 w 363"/>
                  <a:gd name="T9" fmla="*/ 50 h 375"/>
                  <a:gd name="T10" fmla="*/ 24 w 363"/>
                  <a:gd name="T11" fmla="*/ 134 h 375"/>
                  <a:gd name="T12" fmla="*/ 90 w 363"/>
                  <a:gd name="T13" fmla="*/ 197 h 375"/>
                  <a:gd name="T14" fmla="*/ 155 w 363"/>
                  <a:gd name="T15" fmla="*/ 261 h 375"/>
                  <a:gd name="T16" fmla="*/ 186 w 363"/>
                  <a:gd name="T17" fmla="*/ 319 h 375"/>
                  <a:gd name="T18" fmla="*/ 303 w 363"/>
                  <a:gd name="T19" fmla="*/ 366 h 375"/>
                  <a:gd name="T20" fmla="*/ 350 w 363"/>
                  <a:gd name="T21" fmla="*/ 340 h 375"/>
                  <a:gd name="T22" fmla="*/ 363 w 363"/>
                  <a:gd name="T23" fmla="*/ 299 h 375"/>
                  <a:gd name="T24" fmla="*/ 363 w 363"/>
                  <a:gd name="T25" fmla="*/ 285 h 375"/>
                  <a:gd name="T26" fmla="*/ 333 w 363"/>
                  <a:gd name="T27" fmla="*/ 17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375">
                    <a:moveTo>
                      <a:pt x="333" y="174"/>
                    </a:moveTo>
                    <a:cubicBezTo>
                      <a:pt x="303" y="121"/>
                      <a:pt x="240" y="83"/>
                      <a:pt x="192" y="45"/>
                    </a:cubicBezTo>
                    <a:cubicBezTo>
                      <a:pt x="165" y="24"/>
                      <a:pt x="134" y="6"/>
                      <a:pt x="99" y="3"/>
                    </a:cubicBezTo>
                    <a:cubicBezTo>
                      <a:pt x="65" y="0"/>
                      <a:pt x="27" y="16"/>
                      <a:pt x="12" y="47"/>
                    </a:cubicBezTo>
                    <a:lnTo>
                      <a:pt x="11" y="50"/>
                    </a:lnTo>
                    <a:cubicBezTo>
                      <a:pt x="0" y="77"/>
                      <a:pt x="8" y="110"/>
                      <a:pt x="24" y="134"/>
                    </a:cubicBezTo>
                    <a:cubicBezTo>
                      <a:pt x="41" y="160"/>
                      <a:pt x="65" y="179"/>
                      <a:pt x="90" y="197"/>
                    </a:cubicBezTo>
                    <a:cubicBezTo>
                      <a:pt x="114" y="216"/>
                      <a:pt x="138" y="235"/>
                      <a:pt x="155" y="261"/>
                    </a:cubicBezTo>
                    <a:cubicBezTo>
                      <a:pt x="167" y="279"/>
                      <a:pt x="174" y="300"/>
                      <a:pt x="186" y="319"/>
                    </a:cubicBezTo>
                    <a:cubicBezTo>
                      <a:pt x="212" y="355"/>
                      <a:pt x="259" y="375"/>
                      <a:pt x="303" y="366"/>
                    </a:cubicBezTo>
                    <a:cubicBezTo>
                      <a:pt x="321" y="363"/>
                      <a:pt x="339" y="355"/>
                      <a:pt x="350" y="340"/>
                    </a:cubicBezTo>
                    <a:cubicBezTo>
                      <a:pt x="358" y="328"/>
                      <a:pt x="362" y="314"/>
                      <a:pt x="363" y="299"/>
                    </a:cubicBezTo>
                    <a:cubicBezTo>
                      <a:pt x="363" y="294"/>
                      <a:pt x="363" y="289"/>
                      <a:pt x="363" y="285"/>
                    </a:cubicBezTo>
                    <a:cubicBezTo>
                      <a:pt x="362" y="246"/>
                      <a:pt x="352" y="208"/>
                      <a:pt x="333" y="174"/>
                    </a:cubicBez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 78"/>
              <p:cNvSpPr>
                <a:spLocks/>
              </p:cNvSpPr>
              <p:nvPr/>
            </p:nvSpPr>
            <p:spPr bwMode="auto">
              <a:xfrm>
                <a:off x="5176" y="2683"/>
                <a:ext cx="71" cy="60"/>
              </a:xfrm>
              <a:custGeom>
                <a:avLst/>
                <a:gdLst>
                  <a:gd name="T0" fmla="*/ 0 w 149"/>
                  <a:gd name="T1" fmla="*/ 0 h 125"/>
                  <a:gd name="T2" fmla="*/ 0 w 149"/>
                  <a:gd name="T3" fmla="*/ 91 h 125"/>
                  <a:gd name="T4" fmla="*/ 140 w 149"/>
                  <a:gd name="T5" fmla="*/ 85 h 125"/>
                  <a:gd name="T6" fmla="*/ 149 w 149"/>
                  <a:gd name="T7" fmla="*/ 3 h 125"/>
                  <a:gd name="T8" fmla="*/ 0 w 149"/>
                  <a:gd name="T9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25">
                    <a:moveTo>
                      <a:pt x="0" y="0"/>
                    </a:moveTo>
                    <a:lnTo>
                      <a:pt x="0" y="91"/>
                    </a:lnTo>
                    <a:cubicBezTo>
                      <a:pt x="82" y="125"/>
                      <a:pt x="140" y="85"/>
                      <a:pt x="140" y="85"/>
                    </a:cubicBezTo>
                    <a:lnTo>
                      <a:pt x="149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Freeform 79"/>
              <p:cNvSpPr>
                <a:spLocks/>
              </p:cNvSpPr>
              <p:nvPr/>
            </p:nvSpPr>
            <p:spPr bwMode="auto">
              <a:xfrm>
                <a:off x="4916" y="1897"/>
                <a:ext cx="360" cy="935"/>
              </a:xfrm>
              <a:custGeom>
                <a:avLst/>
                <a:gdLst>
                  <a:gd name="T0" fmla="*/ 713 w 750"/>
                  <a:gd name="T1" fmla="*/ 0 h 1949"/>
                  <a:gd name="T2" fmla="*/ 691 w 750"/>
                  <a:gd name="T3" fmla="*/ 837 h 1949"/>
                  <a:gd name="T4" fmla="*/ 700 w 750"/>
                  <a:gd name="T5" fmla="*/ 1656 h 1949"/>
                  <a:gd name="T6" fmla="*/ 536 w 750"/>
                  <a:gd name="T7" fmla="*/ 1656 h 1949"/>
                  <a:gd name="T8" fmla="*/ 403 w 750"/>
                  <a:gd name="T9" fmla="*/ 877 h 1949"/>
                  <a:gd name="T10" fmla="*/ 384 w 750"/>
                  <a:gd name="T11" fmla="*/ 437 h 1949"/>
                  <a:gd name="T12" fmla="*/ 312 w 750"/>
                  <a:gd name="T13" fmla="*/ 1078 h 1949"/>
                  <a:gd name="T14" fmla="*/ 250 w 750"/>
                  <a:gd name="T15" fmla="*/ 1896 h 1949"/>
                  <a:gd name="T16" fmla="*/ 50 w 750"/>
                  <a:gd name="T17" fmla="*/ 1896 h 1949"/>
                  <a:gd name="T18" fmla="*/ 28 w 750"/>
                  <a:gd name="T19" fmla="*/ 40 h 1949"/>
                  <a:gd name="T20" fmla="*/ 713 w 750"/>
                  <a:gd name="T21" fmla="*/ 0 h 19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0" h="1949">
                    <a:moveTo>
                      <a:pt x="713" y="0"/>
                    </a:moveTo>
                    <a:cubicBezTo>
                      <a:pt x="741" y="81"/>
                      <a:pt x="707" y="467"/>
                      <a:pt x="691" y="837"/>
                    </a:cubicBezTo>
                    <a:cubicBezTo>
                      <a:pt x="750" y="977"/>
                      <a:pt x="734" y="1374"/>
                      <a:pt x="700" y="1656"/>
                    </a:cubicBezTo>
                    <a:cubicBezTo>
                      <a:pt x="700" y="1656"/>
                      <a:pt x="642" y="1692"/>
                      <a:pt x="536" y="1656"/>
                    </a:cubicBezTo>
                    <a:lnTo>
                      <a:pt x="403" y="877"/>
                    </a:lnTo>
                    <a:lnTo>
                      <a:pt x="384" y="437"/>
                    </a:lnTo>
                    <a:cubicBezTo>
                      <a:pt x="384" y="437"/>
                      <a:pt x="351" y="828"/>
                      <a:pt x="312" y="1078"/>
                    </a:cubicBezTo>
                    <a:cubicBezTo>
                      <a:pt x="348" y="1270"/>
                      <a:pt x="339" y="1306"/>
                      <a:pt x="250" y="1896"/>
                    </a:cubicBezTo>
                    <a:cubicBezTo>
                      <a:pt x="250" y="1896"/>
                      <a:pt x="159" y="1949"/>
                      <a:pt x="50" y="1896"/>
                    </a:cubicBezTo>
                    <a:cubicBezTo>
                      <a:pt x="0" y="1067"/>
                      <a:pt x="19" y="312"/>
                      <a:pt x="28" y="40"/>
                    </a:cubicBezTo>
                    <a:lnTo>
                      <a:pt x="713" y="0"/>
                    </a:lnTo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reeform 80"/>
              <p:cNvSpPr>
                <a:spLocks/>
              </p:cNvSpPr>
              <p:nvPr/>
            </p:nvSpPr>
            <p:spPr bwMode="auto">
              <a:xfrm>
                <a:off x="4922" y="1397"/>
                <a:ext cx="359" cy="611"/>
              </a:xfrm>
              <a:custGeom>
                <a:avLst/>
                <a:gdLst>
                  <a:gd name="T0" fmla="*/ 0 w 749"/>
                  <a:gd name="T1" fmla="*/ 417 h 1272"/>
                  <a:gd name="T2" fmla="*/ 0 w 749"/>
                  <a:gd name="T3" fmla="*/ 1103 h 1272"/>
                  <a:gd name="T4" fmla="*/ 701 w 749"/>
                  <a:gd name="T5" fmla="*/ 1040 h 1272"/>
                  <a:gd name="T6" fmla="*/ 744 w 749"/>
                  <a:gd name="T7" fmla="*/ 295 h 1272"/>
                  <a:gd name="T8" fmla="*/ 506 w 749"/>
                  <a:gd name="T9" fmla="*/ 31 h 1272"/>
                  <a:gd name="T10" fmla="*/ 278 w 749"/>
                  <a:gd name="T11" fmla="*/ 53 h 1272"/>
                  <a:gd name="T12" fmla="*/ 161 w 749"/>
                  <a:gd name="T13" fmla="*/ 82 h 1272"/>
                  <a:gd name="T14" fmla="*/ 0 w 749"/>
                  <a:gd name="T15" fmla="*/ 417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9" h="1272">
                    <a:moveTo>
                      <a:pt x="0" y="417"/>
                    </a:moveTo>
                    <a:lnTo>
                      <a:pt x="0" y="1103"/>
                    </a:lnTo>
                    <a:cubicBezTo>
                      <a:pt x="404" y="1272"/>
                      <a:pt x="666" y="1119"/>
                      <a:pt x="701" y="1040"/>
                    </a:cubicBezTo>
                    <a:cubicBezTo>
                      <a:pt x="683" y="760"/>
                      <a:pt x="749" y="434"/>
                      <a:pt x="744" y="295"/>
                    </a:cubicBezTo>
                    <a:cubicBezTo>
                      <a:pt x="739" y="156"/>
                      <a:pt x="722" y="0"/>
                      <a:pt x="506" y="31"/>
                    </a:cubicBezTo>
                    <a:lnTo>
                      <a:pt x="278" y="53"/>
                    </a:lnTo>
                    <a:lnTo>
                      <a:pt x="161" y="82"/>
                    </a:lnTo>
                    <a:lnTo>
                      <a:pt x="0" y="417"/>
                    </a:lnTo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 81"/>
              <p:cNvSpPr>
                <a:spLocks/>
              </p:cNvSpPr>
              <p:nvPr/>
            </p:nvSpPr>
            <p:spPr bwMode="auto">
              <a:xfrm>
                <a:off x="4943" y="1047"/>
                <a:ext cx="318" cy="355"/>
              </a:xfrm>
              <a:custGeom>
                <a:avLst/>
                <a:gdLst>
                  <a:gd name="T0" fmla="*/ 97 w 661"/>
                  <a:gd name="T1" fmla="*/ 248 h 739"/>
                  <a:gd name="T2" fmla="*/ 49 w 661"/>
                  <a:gd name="T3" fmla="*/ 128 h 739"/>
                  <a:gd name="T4" fmla="*/ 135 w 661"/>
                  <a:gd name="T5" fmla="*/ 128 h 739"/>
                  <a:gd name="T6" fmla="*/ 114 w 661"/>
                  <a:gd name="T7" fmla="*/ 63 h 739"/>
                  <a:gd name="T8" fmla="*/ 234 w 661"/>
                  <a:gd name="T9" fmla="*/ 83 h 739"/>
                  <a:gd name="T10" fmla="*/ 568 w 661"/>
                  <a:gd name="T11" fmla="*/ 172 h 739"/>
                  <a:gd name="T12" fmla="*/ 638 w 661"/>
                  <a:gd name="T13" fmla="*/ 161 h 739"/>
                  <a:gd name="T14" fmla="*/ 589 w 661"/>
                  <a:gd name="T15" fmla="*/ 195 h 739"/>
                  <a:gd name="T16" fmla="*/ 461 w 661"/>
                  <a:gd name="T17" fmla="*/ 650 h 739"/>
                  <a:gd name="T18" fmla="*/ 289 w 661"/>
                  <a:gd name="T19" fmla="*/ 675 h 739"/>
                  <a:gd name="T20" fmla="*/ 216 w 661"/>
                  <a:gd name="T21" fmla="*/ 496 h 739"/>
                  <a:gd name="T22" fmla="*/ 145 w 661"/>
                  <a:gd name="T23" fmla="*/ 409 h 739"/>
                  <a:gd name="T24" fmla="*/ 97 w 661"/>
                  <a:gd name="T25" fmla="*/ 248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1" h="739">
                    <a:moveTo>
                      <a:pt x="97" y="248"/>
                    </a:moveTo>
                    <a:cubicBezTo>
                      <a:pt x="48" y="230"/>
                      <a:pt x="0" y="159"/>
                      <a:pt x="49" y="128"/>
                    </a:cubicBezTo>
                    <a:cubicBezTo>
                      <a:pt x="62" y="118"/>
                      <a:pt x="102" y="130"/>
                      <a:pt x="135" y="128"/>
                    </a:cubicBezTo>
                    <a:cubicBezTo>
                      <a:pt x="106" y="103"/>
                      <a:pt x="100" y="73"/>
                      <a:pt x="114" y="63"/>
                    </a:cubicBezTo>
                    <a:cubicBezTo>
                      <a:pt x="128" y="53"/>
                      <a:pt x="166" y="89"/>
                      <a:pt x="234" y="83"/>
                    </a:cubicBezTo>
                    <a:cubicBezTo>
                      <a:pt x="303" y="76"/>
                      <a:pt x="539" y="0"/>
                      <a:pt x="568" y="172"/>
                    </a:cubicBezTo>
                    <a:cubicBezTo>
                      <a:pt x="601" y="128"/>
                      <a:pt x="638" y="161"/>
                      <a:pt x="638" y="161"/>
                    </a:cubicBezTo>
                    <a:lnTo>
                      <a:pt x="589" y="195"/>
                    </a:lnTo>
                    <a:cubicBezTo>
                      <a:pt x="661" y="298"/>
                      <a:pt x="638" y="416"/>
                      <a:pt x="461" y="650"/>
                    </a:cubicBezTo>
                    <a:cubicBezTo>
                      <a:pt x="379" y="739"/>
                      <a:pt x="289" y="675"/>
                      <a:pt x="289" y="675"/>
                    </a:cubicBezTo>
                    <a:lnTo>
                      <a:pt x="216" y="496"/>
                    </a:lnTo>
                    <a:lnTo>
                      <a:pt x="145" y="409"/>
                    </a:lnTo>
                    <a:lnTo>
                      <a:pt x="97" y="248"/>
                    </a:ln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 82"/>
              <p:cNvSpPr>
                <a:spLocks/>
              </p:cNvSpPr>
              <p:nvPr/>
            </p:nvSpPr>
            <p:spPr bwMode="auto">
              <a:xfrm>
                <a:off x="4959" y="1235"/>
                <a:ext cx="25" cy="49"/>
              </a:xfrm>
              <a:custGeom>
                <a:avLst/>
                <a:gdLst>
                  <a:gd name="T0" fmla="*/ 47 w 52"/>
                  <a:gd name="T1" fmla="*/ 0 h 101"/>
                  <a:gd name="T2" fmla="*/ 0 w 52"/>
                  <a:gd name="T3" fmla="*/ 82 h 101"/>
                  <a:gd name="T4" fmla="*/ 52 w 52"/>
                  <a:gd name="T5" fmla="*/ 101 h 101"/>
                  <a:gd name="T6" fmla="*/ 47 w 52"/>
                  <a:gd name="T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101">
                    <a:moveTo>
                      <a:pt x="47" y="0"/>
                    </a:moveTo>
                    <a:lnTo>
                      <a:pt x="0" y="82"/>
                    </a:lnTo>
                    <a:lnTo>
                      <a:pt x="52" y="101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 83"/>
              <p:cNvSpPr>
                <a:spLocks/>
              </p:cNvSpPr>
              <p:nvPr/>
            </p:nvSpPr>
            <p:spPr bwMode="auto">
              <a:xfrm>
                <a:off x="4972" y="1166"/>
                <a:ext cx="193" cy="270"/>
              </a:xfrm>
              <a:custGeom>
                <a:avLst/>
                <a:gdLst>
                  <a:gd name="T0" fmla="*/ 37 w 401"/>
                  <a:gd name="T1" fmla="*/ 0 h 561"/>
                  <a:gd name="T2" fmla="*/ 23 w 401"/>
                  <a:gd name="T3" fmla="*/ 350 h 561"/>
                  <a:gd name="T4" fmla="*/ 45 w 401"/>
                  <a:gd name="T5" fmla="*/ 406 h 561"/>
                  <a:gd name="T6" fmla="*/ 105 w 401"/>
                  <a:gd name="T7" fmla="*/ 434 h 561"/>
                  <a:gd name="T8" fmla="*/ 173 w 401"/>
                  <a:gd name="T9" fmla="*/ 427 h 561"/>
                  <a:gd name="T10" fmla="*/ 173 w 401"/>
                  <a:gd name="T11" fmla="*/ 534 h 561"/>
                  <a:gd name="T12" fmla="*/ 401 w 401"/>
                  <a:gd name="T13" fmla="*/ 512 h 561"/>
                  <a:gd name="T14" fmla="*/ 401 w 401"/>
                  <a:gd name="T15" fmla="*/ 402 h 561"/>
                  <a:gd name="T16" fmla="*/ 259 w 401"/>
                  <a:gd name="T17" fmla="*/ 411 h 561"/>
                  <a:gd name="T18" fmla="*/ 200 w 401"/>
                  <a:gd name="T19" fmla="*/ 251 h 561"/>
                  <a:gd name="T20" fmla="*/ 244 w 401"/>
                  <a:gd name="T21" fmla="*/ 267 h 561"/>
                  <a:gd name="T22" fmla="*/ 280 w 401"/>
                  <a:gd name="T23" fmla="*/ 238 h 561"/>
                  <a:gd name="T24" fmla="*/ 294 w 401"/>
                  <a:gd name="T25" fmla="*/ 192 h 561"/>
                  <a:gd name="T26" fmla="*/ 285 w 401"/>
                  <a:gd name="T27" fmla="*/ 135 h 561"/>
                  <a:gd name="T28" fmla="*/ 222 w 401"/>
                  <a:gd name="T29" fmla="*/ 114 h 561"/>
                  <a:gd name="T30" fmla="*/ 168 w 401"/>
                  <a:gd name="T31" fmla="*/ 159 h 561"/>
                  <a:gd name="T32" fmla="*/ 159 w 401"/>
                  <a:gd name="T33" fmla="*/ 179 h 561"/>
                  <a:gd name="T34" fmla="*/ 134 w 401"/>
                  <a:gd name="T35" fmla="*/ 176 h 561"/>
                  <a:gd name="T36" fmla="*/ 150 w 401"/>
                  <a:gd name="T37" fmla="*/ 86 h 561"/>
                  <a:gd name="T38" fmla="*/ 104 w 401"/>
                  <a:gd name="T39" fmla="*/ 58 h 561"/>
                  <a:gd name="T40" fmla="*/ 95 w 401"/>
                  <a:gd name="T41" fmla="*/ 7 h 561"/>
                  <a:gd name="T42" fmla="*/ 37 w 401"/>
                  <a:gd name="T43" fmla="*/ 0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1" h="561">
                    <a:moveTo>
                      <a:pt x="37" y="0"/>
                    </a:moveTo>
                    <a:cubicBezTo>
                      <a:pt x="5" y="114"/>
                      <a:pt x="0" y="235"/>
                      <a:pt x="23" y="350"/>
                    </a:cubicBezTo>
                    <a:cubicBezTo>
                      <a:pt x="27" y="370"/>
                      <a:pt x="32" y="391"/>
                      <a:pt x="45" y="406"/>
                    </a:cubicBezTo>
                    <a:cubicBezTo>
                      <a:pt x="59" y="423"/>
                      <a:pt x="82" y="432"/>
                      <a:pt x="105" y="434"/>
                    </a:cubicBezTo>
                    <a:cubicBezTo>
                      <a:pt x="128" y="435"/>
                      <a:pt x="150" y="431"/>
                      <a:pt x="173" y="427"/>
                    </a:cubicBezTo>
                    <a:lnTo>
                      <a:pt x="173" y="534"/>
                    </a:lnTo>
                    <a:cubicBezTo>
                      <a:pt x="254" y="553"/>
                      <a:pt x="338" y="561"/>
                      <a:pt x="401" y="512"/>
                    </a:cubicBezTo>
                    <a:lnTo>
                      <a:pt x="401" y="402"/>
                    </a:lnTo>
                    <a:cubicBezTo>
                      <a:pt x="356" y="416"/>
                      <a:pt x="306" y="421"/>
                      <a:pt x="259" y="411"/>
                    </a:cubicBezTo>
                    <a:cubicBezTo>
                      <a:pt x="203" y="381"/>
                      <a:pt x="192" y="278"/>
                      <a:pt x="200" y="251"/>
                    </a:cubicBezTo>
                    <a:cubicBezTo>
                      <a:pt x="208" y="265"/>
                      <a:pt x="228" y="270"/>
                      <a:pt x="244" y="267"/>
                    </a:cubicBezTo>
                    <a:cubicBezTo>
                      <a:pt x="259" y="263"/>
                      <a:pt x="272" y="251"/>
                      <a:pt x="280" y="238"/>
                    </a:cubicBezTo>
                    <a:cubicBezTo>
                      <a:pt x="288" y="224"/>
                      <a:pt x="292" y="208"/>
                      <a:pt x="294" y="192"/>
                    </a:cubicBezTo>
                    <a:cubicBezTo>
                      <a:pt x="296" y="173"/>
                      <a:pt x="296" y="152"/>
                      <a:pt x="285" y="135"/>
                    </a:cubicBezTo>
                    <a:cubicBezTo>
                      <a:pt x="272" y="115"/>
                      <a:pt x="245" y="108"/>
                      <a:pt x="222" y="114"/>
                    </a:cubicBezTo>
                    <a:cubicBezTo>
                      <a:pt x="199" y="120"/>
                      <a:pt x="180" y="138"/>
                      <a:pt x="168" y="159"/>
                    </a:cubicBezTo>
                    <a:cubicBezTo>
                      <a:pt x="165" y="165"/>
                      <a:pt x="161" y="172"/>
                      <a:pt x="159" y="179"/>
                    </a:cubicBezTo>
                    <a:cubicBezTo>
                      <a:pt x="154" y="192"/>
                      <a:pt x="135" y="190"/>
                      <a:pt x="134" y="176"/>
                    </a:cubicBezTo>
                    <a:cubicBezTo>
                      <a:pt x="131" y="145"/>
                      <a:pt x="137" y="114"/>
                      <a:pt x="150" y="86"/>
                    </a:cubicBezTo>
                    <a:cubicBezTo>
                      <a:pt x="132" y="87"/>
                      <a:pt x="115" y="73"/>
                      <a:pt x="104" y="58"/>
                    </a:cubicBezTo>
                    <a:cubicBezTo>
                      <a:pt x="94" y="44"/>
                      <a:pt x="90" y="24"/>
                      <a:pt x="95" y="7"/>
                    </a:cubicBezTo>
                    <a:cubicBezTo>
                      <a:pt x="68" y="10"/>
                      <a:pt x="37" y="0"/>
                      <a:pt x="37" y="0"/>
                    </a:cubicBez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 84"/>
              <p:cNvSpPr>
                <a:spLocks/>
              </p:cNvSpPr>
              <p:nvPr/>
            </p:nvSpPr>
            <p:spPr bwMode="auto">
              <a:xfrm>
                <a:off x="5104" y="2200"/>
                <a:ext cx="1" cy="6"/>
              </a:xfrm>
              <a:custGeom>
                <a:avLst/>
                <a:gdLst>
                  <a:gd name="T0" fmla="*/ 1 w 1"/>
                  <a:gd name="T1" fmla="*/ 6 h 6"/>
                  <a:gd name="T2" fmla="*/ 1 w 1"/>
                  <a:gd name="T3" fmla="*/ 6 h 6"/>
                  <a:gd name="T4" fmla="*/ 0 w 1"/>
                  <a:gd name="T5" fmla="*/ 0 h 6"/>
                  <a:gd name="T6" fmla="*/ 1 w 1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6"/>
                    </a:moveTo>
                    <a:lnTo>
                      <a:pt x="1" y="6"/>
                    </a:lnTo>
                    <a:lnTo>
                      <a:pt x="0" y="0"/>
                    </a:ln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C3C5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 85"/>
              <p:cNvSpPr>
                <a:spLocks/>
              </p:cNvSpPr>
              <p:nvPr/>
            </p:nvSpPr>
            <p:spPr bwMode="auto">
              <a:xfrm>
                <a:off x="5105" y="2206"/>
                <a:ext cx="1" cy="29"/>
              </a:xfrm>
              <a:custGeom>
                <a:avLst/>
                <a:gdLst>
                  <a:gd name="T0" fmla="*/ 1 w 1"/>
                  <a:gd name="T1" fmla="*/ 29 h 29"/>
                  <a:gd name="T2" fmla="*/ 0 w 1"/>
                  <a:gd name="T3" fmla="*/ 0 h 29"/>
                  <a:gd name="T4" fmla="*/ 0 w 1"/>
                  <a:gd name="T5" fmla="*/ 0 h 29"/>
                  <a:gd name="T6" fmla="*/ 1 w 1"/>
                  <a:gd name="T7" fmla="*/ 29 h 29"/>
                  <a:gd name="T8" fmla="*/ 1 w 1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9">
                    <a:moveTo>
                      <a:pt x="1" y="29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29"/>
                    </a:lnTo>
                    <a:lnTo>
                      <a:pt x="1" y="29"/>
                    </a:lnTo>
                    <a:close/>
                  </a:path>
                </a:pathLst>
              </a:custGeom>
              <a:solidFill>
                <a:srgbClr val="B6B8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 86"/>
              <p:cNvSpPr>
                <a:spLocks/>
              </p:cNvSpPr>
              <p:nvPr/>
            </p:nvSpPr>
            <p:spPr bwMode="auto">
              <a:xfrm>
                <a:off x="5098" y="1998"/>
                <a:ext cx="118" cy="237"/>
              </a:xfrm>
              <a:custGeom>
                <a:avLst/>
                <a:gdLst>
                  <a:gd name="T0" fmla="*/ 15 w 245"/>
                  <a:gd name="T1" fmla="*/ 494 h 494"/>
                  <a:gd name="T2" fmla="*/ 13 w 245"/>
                  <a:gd name="T3" fmla="*/ 434 h 494"/>
                  <a:gd name="T4" fmla="*/ 12 w 245"/>
                  <a:gd name="T5" fmla="*/ 421 h 494"/>
                  <a:gd name="T6" fmla="*/ 0 w 245"/>
                  <a:gd name="T7" fmla="*/ 135 h 494"/>
                  <a:gd name="T8" fmla="*/ 245 w 245"/>
                  <a:gd name="T9" fmla="*/ 0 h 494"/>
                  <a:gd name="T10" fmla="*/ 60 w 245"/>
                  <a:gd name="T11" fmla="*/ 162 h 494"/>
                  <a:gd name="T12" fmla="*/ 15 w 245"/>
                  <a:gd name="T13" fmla="*/ 494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5" h="494">
                    <a:moveTo>
                      <a:pt x="15" y="494"/>
                    </a:moveTo>
                    <a:lnTo>
                      <a:pt x="13" y="434"/>
                    </a:lnTo>
                    <a:lnTo>
                      <a:pt x="12" y="421"/>
                    </a:lnTo>
                    <a:lnTo>
                      <a:pt x="0" y="135"/>
                    </a:lnTo>
                    <a:cubicBezTo>
                      <a:pt x="93" y="135"/>
                      <a:pt x="179" y="66"/>
                      <a:pt x="245" y="0"/>
                    </a:cubicBezTo>
                    <a:cubicBezTo>
                      <a:pt x="182" y="112"/>
                      <a:pt x="60" y="162"/>
                      <a:pt x="60" y="162"/>
                    </a:cubicBezTo>
                    <a:lnTo>
                      <a:pt x="15" y="494"/>
                    </a:lnTo>
                    <a:close/>
                  </a:path>
                </a:pathLst>
              </a:custGeom>
              <a:solidFill>
                <a:srgbClr val="263F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 87"/>
              <p:cNvSpPr>
                <a:spLocks/>
              </p:cNvSpPr>
              <p:nvPr/>
            </p:nvSpPr>
            <p:spPr bwMode="auto">
              <a:xfrm>
                <a:off x="4784" y="1611"/>
                <a:ext cx="171" cy="220"/>
              </a:xfrm>
              <a:custGeom>
                <a:avLst/>
                <a:gdLst>
                  <a:gd name="T0" fmla="*/ 286 w 355"/>
                  <a:gd name="T1" fmla="*/ 458 h 458"/>
                  <a:gd name="T2" fmla="*/ 286 w 355"/>
                  <a:gd name="T3" fmla="*/ 259 h 458"/>
                  <a:gd name="T4" fmla="*/ 355 w 355"/>
                  <a:gd name="T5" fmla="*/ 129 h 458"/>
                  <a:gd name="T6" fmla="*/ 147 w 355"/>
                  <a:gd name="T7" fmla="*/ 0 h 458"/>
                  <a:gd name="T8" fmla="*/ 38 w 355"/>
                  <a:gd name="T9" fmla="*/ 222 h 458"/>
                  <a:gd name="T10" fmla="*/ 123 w 355"/>
                  <a:gd name="T11" fmla="*/ 412 h 458"/>
                  <a:gd name="T12" fmla="*/ 286 w 355"/>
                  <a:gd name="T13" fmla="*/ 458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458">
                    <a:moveTo>
                      <a:pt x="286" y="458"/>
                    </a:moveTo>
                    <a:lnTo>
                      <a:pt x="286" y="259"/>
                    </a:lnTo>
                    <a:lnTo>
                      <a:pt x="355" y="129"/>
                    </a:lnTo>
                    <a:lnTo>
                      <a:pt x="147" y="0"/>
                    </a:lnTo>
                    <a:lnTo>
                      <a:pt x="38" y="222"/>
                    </a:lnTo>
                    <a:cubicBezTo>
                      <a:pt x="0" y="298"/>
                      <a:pt x="41" y="389"/>
                      <a:pt x="123" y="412"/>
                    </a:cubicBezTo>
                    <a:lnTo>
                      <a:pt x="286" y="458"/>
                    </a:ln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 88"/>
              <p:cNvSpPr>
                <a:spLocks/>
              </p:cNvSpPr>
              <p:nvPr/>
            </p:nvSpPr>
            <p:spPr bwMode="auto">
              <a:xfrm>
                <a:off x="4888" y="1736"/>
                <a:ext cx="34" cy="50"/>
              </a:xfrm>
              <a:custGeom>
                <a:avLst/>
                <a:gdLst>
                  <a:gd name="T0" fmla="*/ 71 w 71"/>
                  <a:gd name="T1" fmla="*/ 0 h 104"/>
                  <a:gd name="T2" fmla="*/ 0 w 71"/>
                  <a:gd name="T3" fmla="*/ 104 h 104"/>
                  <a:gd name="T4" fmla="*/ 71 w 71"/>
                  <a:gd name="T5" fmla="*/ 74 h 104"/>
                  <a:gd name="T6" fmla="*/ 71 w 71"/>
                  <a:gd name="T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" h="104">
                    <a:moveTo>
                      <a:pt x="71" y="0"/>
                    </a:moveTo>
                    <a:lnTo>
                      <a:pt x="0" y="104"/>
                    </a:lnTo>
                    <a:lnTo>
                      <a:pt x="71" y="74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16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 89"/>
              <p:cNvSpPr>
                <a:spLocks/>
              </p:cNvSpPr>
              <p:nvPr/>
            </p:nvSpPr>
            <p:spPr bwMode="auto">
              <a:xfrm>
                <a:off x="4843" y="1437"/>
                <a:ext cx="198" cy="252"/>
              </a:xfrm>
              <a:custGeom>
                <a:avLst/>
                <a:gdLst>
                  <a:gd name="T0" fmla="*/ 326 w 414"/>
                  <a:gd name="T1" fmla="*/ 0 h 525"/>
                  <a:gd name="T2" fmla="*/ 274 w 414"/>
                  <a:gd name="T3" fmla="*/ 7 h 525"/>
                  <a:gd name="T4" fmla="*/ 111 w 414"/>
                  <a:gd name="T5" fmla="*/ 131 h 525"/>
                  <a:gd name="T6" fmla="*/ 0 w 414"/>
                  <a:gd name="T7" fmla="*/ 388 h 525"/>
                  <a:gd name="T8" fmla="*/ 251 w 414"/>
                  <a:gd name="T9" fmla="*/ 515 h 525"/>
                  <a:gd name="T10" fmla="*/ 364 w 414"/>
                  <a:gd name="T11" fmla="*/ 297 h 525"/>
                  <a:gd name="T12" fmla="*/ 327 w 414"/>
                  <a:gd name="T13" fmla="*/ 0 h 525"/>
                  <a:gd name="T14" fmla="*/ 326 w 414"/>
                  <a:gd name="T15" fmla="*/ 0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4" h="525">
                    <a:moveTo>
                      <a:pt x="326" y="0"/>
                    </a:moveTo>
                    <a:lnTo>
                      <a:pt x="274" y="7"/>
                    </a:lnTo>
                    <a:cubicBezTo>
                      <a:pt x="202" y="17"/>
                      <a:pt x="140" y="64"/>
                      <a:pt x="111" y="131"/>
                    </a:cubicBezTo>
                    <a:lnTo>
                      <a:pt x="0" y="388"/>
                    </a:lnTo>
                    <a:cubicBezTo>
                      <a:pt x="86" y="525"/>
                      <a:pt x="251" y="515"/>
                      <a:pt x="251" y="515"/>
                    </a:cubicBezTo>
                    <a:lnTo>
                      <a:pt x="364" y="297"/>
                    </a:lnTo>
                    <a:cubicBezTo>
                      <a:pt x="414" y="199"/>
                      <a:pt x="399" y="81"/>
                      <a:pt x="327" y="0"/>
                    </a:cubicBezTo>
                    <a:lnTo>
                      <a:pt x="326" y="0"/>
                    </a:ln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 90"/>
              <p:cNvSpPr>
                <a:spLocks/>
              </p:cNvSpPr>
              <p:nvPr/>
            </p:nvSpPr>
            <p:spPr bwMode="auto">
              <a:xfrm>
                <a:off x="4387" y="1120"/>
                <a:ext cx="193" cy="173"/>
              </a:xfrm>
              <a:custGeom>
                <a:avLst/>
                <a:gdLst>
                  <a:gd name="T0" fmla="*/ 0 w 403"/>
                  <a:gd name="T1" fmla="*/ 273 h 361"/>
                  <a:gd name="T2" fmla="*/ 56 w 403"/>
                  <a:gd name="T3" fmla="*/ 232 h 361"/>
                  <a:gd name="T4" fmla="*/ 94 w 403"/>
                  <a:gd name="T5" fmla="*/ 181 h 361"/>
                  <a:gd name="T6" fmla="*/ 107 w 403"/>
                  <a:gd name="T7" fmla="*/ 145 h 361"/>
                  <a:gd name="T8" fmla="*/ 154 w 403"/>
                  <a:gd name="T9" fmla="*/ 83 h 361"/>
                  <a:gd name="T10" fmla="*/ 239 w 403"/>
                  <a:gd name="T11" fmla="*/ 0 h 361"/>
                  <a:gd name="T12" fmla="*/ 243 w 403"/>
                  <a:gd name="T13" fmla="*/ 65 h 361"/>
                  <a:gd name="T14" fmla="*/ 209 w 403"/>
                  <a:gd name="T15" fmla="*/ 104 h 361"/>
                  <a:gd name="T16" fmla="*/ 239 w 403"/>
                  <a:gd name="T17" fmla="*/ 107 h 361"/>
                  <a:gd name="T18" fmla="*/ 302 w 403"/>
                  <a:gd name="T19" fmla="*/ 91 h 361"/>
                  <a:gd name="T20" fmla="*/ 380 w 403"/>
                  <a:gd name="T21" fmla="*/ 43 h 361"/>
                  <a:gd name="T22" fmla="*/ 403 w 403"/>
                  <a:gd name="T23" fmla="*/ 56 h 361"/>
                  <a:gd name="T24" fmla="*/ 380 w 403"/>
                  <a:gd name="T25" fmla="*/ 168 h 361"/>
                  <a:gd name="T26" fmla="*/ 306 w 403"/>
                  <a:gd name="T27" fmla="*/ 244 h 361"/>
                  <a:gd name="T28" fmla="*/ 202 w 403"/>
                  <a:gd name="T29" fmla="*/ 281 h 361"/>
                  <a:gd name="T30" fmla="*/ 165 w 403"/>
                  <a:gd name="T31" fmla="*/ 300 h 361"/>
                  <a:gd name="T32" fmla="*/ 83 w 403"/>
                  <a:gd name="T33" fmla="*/ 361 h 361"/>
                  <a:gd name="T34" fmla="*/ 0 w 403"/>
                  <a:gd name="T35" fmla="*/ 273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3" h="361">
                    <a:moveTo>
                      <a:pt x="0" y="273"/>
                    </a:moveTo>
                    <a:lnTo>
                      <a:pt x="56" y="232"/>
                    </a:lnTo>
                    <a:cubicBezTo>
                      <a:pt x="73" y="219"/>
                      <a:pt x="86" y="201"/>
                      <a:pt x="94" y="181"/>
                    </a:cubicBezTo>
                    <a:lnTo>
                      <a:pt x="107" y="145"/>
                    </a:lnTo>
                    <a:cubicBezTo>
                      <a:pt x="116" y="120"/>
                      <a:pt x="132" y="98"/>
                      <a:pt x="154" y="83"/>
                    </a:cubicBezTo>
                    <a:cubicBezTo>
                      <a:pt x="208" y="42"/>
                      <a:pt x="239" y="0"/>
                      <a:pt x="239" y="0"/>
                    </a:cubicBezTo>
                    <a:cubicBezTo>
                      <a:pt x="255" y="18"/>
                      <a:pt x="257" y="46"/>
                      <a:pt x="243" y="65"/>
                    </a:cubicBezTo>
                    <a:cubicBezTo>
                      <a:pt x="227" y="86"/>
                      <a:pt x="209" y="104"/>
                      <a:pt x="209" y="104"/>
                    </a:cubicBezTo>
                    <a:lnTo>
                      <a:pt x="239" y="107"/>
                    </a:lnTo>
                    <a:cubicBezTo>
                      <a:pt x="261" y="108"/>
                      <a:pt x="283" y="103"/>
                      <a:pt x="302" y="91"/>
                    </a:cubicBezTo>
                    <a:lnTo>
                      <a:pt x="380" y="43"/>
                    </a:lnTo>
                    <a:cubicBezTo>
                      <a:pt x="390" y="37"/>
                      <a:pt x="403" y="44"/>
                      <a:pt x="403" y="56"/>
                    </a:cubicBezTo>
                    <a:cubicBezTo>
                      <a:pt x="403" y="95"/>
                      <a:pt x="392" y="136"/>
                      <a:pt x="380" y="168"/>
                    </a:cubicBezTo>
                    <a:cubicBezTo>
                      <a:pt x="368" y="203"/>
                      <a:pt x="340" y="230"/>
                      <a:pt x="306" y="244"/>
                    </a:cubicBezTo>
                    <a:cubicBezTo>
                      <a:pt x="265" y="259"/>
                      <a:pt x="224" y="273"/>
                      <a:pt x="202" y="281"/>
                    </a:cubicBezTo>
                    <a:cubicBezTo>
                      <a:pt x="188" y="285"/>
                      <a:pt x="176" y="292"/>
                      <a:pt x="165" y="300"/>
                    </a:cubicBezTo>
                    <a:lnTo>
                      <a:pt x="83" y="361"/>
                    </a:lnTo>
                    <a:lnTo>
                      <a:pt x="0" y="273"/>
                    </a:ln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 91"/>
              <p:cNvSpPr>
                <a:spLocks/>
              </p:cNvSpPr>
              <p:nvPr/>
            </p:nvSpPr>
            <p:spPr bwMode="auto">
              <a:xfrm>
                <a:off x="4383" y="1225"/>
                <a:ext cx="74" cy="78"/>
              </a:xfrm>
              <a:custGeom>
                <a:avLst/>
                <a:gdLst>
                  <a:gd name="T0" fmla="*/ 70 w 154"/>
                  <a:gd name="T1" fmla="*/ 0 h 163"/>
                  <a:gd name="T2" fmla="*/ 0 w 154"/>
                  <a:gd name="T3" fmla="*/ 46 h 163"/>
                  <a:gd name="T4" fmla="*/ 26 w 154"/>
                  <a:gd name="T5" fmla="*/ 115 h 163"/>
                  <a:gd name="T6" fmla="*/ 90 w 154"/>
                  <a:gd name="T7" fmla="*/ 163 h 163"/>
                  <a:gd name="T8" fmla="*/ 154 w 154"/>
                  <a:gd name="T9" fmla="*/ 102 h 163"/>
                  <a:gd name="T10" fmla="*/ 70 w 154"/>
                  <a:gd name="T11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4" h="163">
                    <a:moveTo>
                      <a:pt x="70" y="0"/>
                    </a:moveTo>
                    <a:lnTo>
                      <a:pt x="0" y="46"/>
                    </a:lnTo>
                    <a:cubicBezTo>
                      <a:pt x="2" y="71"/>
                      <a:pt x="11" y="95"/>
                      <a:pt x="26" y="115"/>
                    </a:cubicBezTo>
                    <a:cubicBezTo>
                      <a:pt x="42" y="137"/>
                      <a:pt x="65" y="154"/>
                      <a:pt x="90" y="163"/>
                    </a:cubicBezTo>
                    <a:lnTo>
                      <a:pt x="154" y="102"/>
                    </a:lnTo>
                    <a:cubicBezTo>
                      <a:pt x="154" y="102"/>
                      <a:pt x="92" y="93"/>
                      <a:pt x="70" y="0"/>
                    </a:cubicBez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 92"/>
              <p:cNvSpPr>
                <a:spLocks/>
              </p:cNvSpPr>
              <p:nvPr/>
            </p:nvSpPr>
            <p:spPr bwMode="auto">
              <a:xfrm>
                <a:off x="4131" y="1094"/>
                <a:ext cx="295" cy="348"/>
              </a:xfrm>
              <a:custGeom>
                <a:avLst/>
                <a:gdLst>
                  <a:gd name="T0" fmla="*/ 551 w 615"/>
                  <a:gd name="T1" fmla="*/ 388 h 726"/>
                  <a:gd name="T2" fmla="*/ 525 w 615"/>
                  <a:gd name="T3" fmla="*/ 319 h 726"/>
                  <a:gd name="T4" fmla="*/ 305 w 615"/>
                  <a:gd name="T5" fmla="*/ 460 h 726"/>
                  <a:gd name="T6" fmla="*/ 175 w 615"/>
                  <a:gd name="T7" fmla="*/ 98 h 726"/>
                  <a:gd name="T8" fmla="*/ 64 w 615"/>
                  <a:gd name="T9" fmla="*/ 8 h 726"/>
                  <a:gd name="T10" fmla="*/ 0 w 615"/>
                  <a:gd name="T11" fmla="*/ 0 h 726"/>
                  <a:gd name="T12" fmla="*/ 60 w 615"/>
                  <a:gd name="T13" fmla="*/ 424 h 726"/>
                  <a:gd name="T14" fmla="*/ 160 w 615"/>
                  <a:gd name="T15" fmla="*/ 627 h 726"/>
                  <a:gd name="T16" fmla="*/ 367 w 615"/>
                  <a:gd name="T17" fmla="*/ 671 h 726"/>
                  <a:gd name="T18" fmla="*/ 615 w 615"/>
                  <a:gd name="T19" fmla="*/ 436 h 726"/>
                  <a:gd name="T20" fmla="*/ 551 w 615"/>
                  <a:gd name="T21" fmla="*/ 38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5" h="726">
                    <a:moveTo>
                      <a:pt x="551" y="388"/>
                    </a:moveTo>
                    <a:cubicBezTo>
                      <a:pt x="536" y="368"/>
                      <a:pt x="527" y="344"/>
                      <a:pt x="525" y="319"/>
                    </a:cubicBezTo>
                    <a:lnTo>
                      <a:pt x="305" y="460"/>
                    </a:lnTo>
                    <a:lnTo>
                      <a:pt x="175" y="98"/>
                    </a:lnTo>
                    <a:cubicBezTo>
                      <a:pt x="158" y="49"/>
                      <a:pt x="115" y="14"/>
                      <a:pt x="64" y="8"/>
                    </a:cubicBezTo>
                    <a:lnTo>
                      <a:pt x="0" y="0"/>
                    </a:lnTo>
                    <a:lnTo>
                      <a:pt x="60" y="424"/>
                    </a:lnTo>
                    <a:lnTo>
                      <a:pt x="160" y="627"/>
                    </a:lnTo>
                    <a:cubicBezTo>
                      <a:pt x="199" y="704"/>
                      <a:pt x="300" y="726"/>
                      <a:pt x="367" y="671"/>
                    </a:cubicBezTo>
                    <a:lnTo>
                      <a:pt x="615" y="436"/>
                    </a:lnTo>
                    <a:cubicBezTo>
                      <a:pt x="590" y="427"/>
                      <a:pt x="567" y="410"/>
                      <a:pt x="551" y="388"/>
                    </a:cubicBezTo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 93"/>
              <p:cNvSpPr>
                <a:spLocks/>
              </p:cNvSpPr>
              <p:nvPr/>
            </p:nvSpPr>
            <p:spPr bwMode="auto">
              <a:xfrm>
                <a:off x="4054" y="2322"/>
                <a:ext cx="214" cy="117"/>
              </a:xfrm>
              <a:custGeom>
                <a:avLst/>
                <a:gdLst>
                  <a:gd name="T0" fmla="*/ 441 w 447"/>
                  <a:gd name="T1" fmla="*/ 205 h 243"/>
                  <a:gd name="T2" fmla="*/ 338 w 447"/>
                  <a:gd name="T3" fmla="*/ 242 h 243"/>
                  <a:gd name="T4" fmla="*/ 229 w 447"/>
                  <a:gd name="T5" fmla="*/ 215 h 243"/>
                  <a:gd name="T6" fmla="*/ 114 w 447"/>
                  <a:gd name="T7" fmla="*/ 161 h 243"/>
                  <a:gd name="T8" fmla="*/ 4 w 447"/>
                  <a:gd name="T9" fmla="*/ 154 h 243"/>
                  <a:gd name="T10" fmla="*/ 19 w 447"/>
                  <a:gd name="T11" fmla="*/ 5 h 243"/>
                  <a:gd name="T12" fmla="*/ 195 w 447"/>
                  <a:gd name="T13" fmla="*/ 0 h 243"/>
                  <a:gd name="T14" fmla="*/ 404 w 447"/>
                  <a:gd name="T15" fmla="*/ 139 h 243"/>
                  <a:gd name="T16" fmla="*/ 447 w 447"/>
                  <a:gd name="T17" fmla="*/ 186 h 243"/>
                  <a:gd name="T18" fmla="*/ 447 w 447"/>
                  <a:gd name="T19" fmla="*/ 187 h 243"/>
                  <a:gd name="T20" fmla="*/ 441 w 447"/>
                  <a:gd name="T21" fmla="*/ 205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7" h="243">
                    <a:moveTo>
                      <a:pt x="441" y="205"/>
                    </a:moveTo>
                    <a:cubicBezTo>
                      <a:pt x="415" y="232"/>
                      <a:pt x="376" y="243"/>
                      <a:pt x="338" y="242"/>
                    </a:cubicBezTo>
                    <a:cubicBezTo>
                      <a:pt x="301" y="241"/>
                      <a:pt x="264" y="229"/>
                      <a:pt x="229" y="215"/>
                    </a:cubicBezTo>
                    <a:cubicBezTo>
                      <a:pt x="195" y="201"/>
                      <a:pt x="151" y="161"/>
                      <a:pt x="114" y="161"/>
                    </a:cubicBezTo>
                    <a:cubicBezTo>
                      <a:pt x="79" y="162"/>
                      <a:pt x="38" y="158"/>
                      <a:pt x="4" y="154"/>
                    </a:cubicBezTo>
                    <a:cubicBezTo>
                      <a:pt x="0" y="78"/>
                      <a:pt x="19" y="5"/>
                      <a:pt x="19" y="5"/>
                    </a:cubicBezTo>
                    <a:lnTo>
                      <a:pt x="195" y="0"/>
                    </a:lnTo>
                    <a:cubicBezTo>
                      <a:pt x="242" y="65"/>
                      <a:pt x="334" y="119"/>
                      <a:pt x="404" y="139"/>
                    </a:cubicBezTo>
                    <a:cubicBezTo>
                      <a:pt x="426" y="146"/>
                      <a:pt x="443" y="164"/>
                      <a:pt x="447" y="186"/>
                    </a:cubicBezTo>
                    <a:lnTo>
                      <a:pt x="447" y="187"/>
                    </a:lnTo>
                    <a:cubicBezTo>
                      <a:pt x="445" y="198"/>
                      <a:pt x="441" y="205"/>
                      <a:pt x="441" y="205"/>
                    </a:cubicBezTo>
                    <a:close/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 94"/>
              <p:cNvSpPr>
                <a:spLocks/>
              </p:cNvSpPr>
              <p:nvPr/>
            </p:nvSpPr>
            <p:spPr bwMode="auto">
              <a:xfrm>
                <a:off x="4056" y="2396"/>
                <a:ext cx="213" cy="54"/>
              </a:xfrm>
              <a:custGeom>
                <a:avLst/>
                <a:gdLst>
                  <a:gd name="T0" fmla="*/ 110 w 445"/>
                  <a:gd name="T1" fmla="*/ 7 h 112"/>
                  <a:gd name="T2" fmla="*/ 225 w 445"/>
                  <a:gd name="T3" fmla="*/ 61 h 112"/>
                  <a:gd name="T4" fmla="*/ 334 w 445"/>
                  <a:gd name="T5" fmla="*/ 88 h 112"/>
                  <a:gd name="T6" fmla="*/ 437 w 445"/>
                  <a:gd name="T7" fmla="*/ 51 h 112"/>
                  <a:gd name="T8" fmla="*/ 443 w 445"/>
                  <a:gd name="T9" fmla="*/ 33 h 112"/>
                  <a:gd name="T10" fmla="*/ 443 w 445"/>
                  <a:gd name="T11" fmla="*/ 32 h 112"/>
                  <a:gd name="T12" fmla="*/ 443 w 445"/>
                  <a:gd name="T13" fmla="*/ 55 h 112"/>
                  <a:gd name="T14" fmla="*/ 437 w 445"/>
                  <a:gd name="T15" fmla="*/ 73 h 112"/>
                  <a:gd name="T16" fmla="*/ 334 w 445"/>
                  <a:gd name="T17" fmla="*/ 111 h 112"/>
                  <a:gd name="T18" fmla="*/ 225 w 445"/>
                  <a:gd name="T19" fmla="*/ 83 h 112"/>
                  <a:gd name="T20" fmla="*/ 110 w 445"/>
                  <a:gd name="T21" fmla="*/ 30 h 112"/>
                  <a:gd name="T22" fmla="*/ 1 w 445"/>
                  <a:gd name="T23" fmla="*/ 23 h 112"/>
                  <a:gd name="T24" fmla="*/ 0 w 445"/>
                  <a:gd name="T25" fmla="*/ 0 h 112"/>
                  <a:gd name="T26" fmla="*/ 110 w 445"/>
                  <a:gd name="T27" fmla="*/ 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5" h="112">
                    <a:moveTo>
                      <a:pt x="110" y="7"/>
                    </a:moveTo>
                    <a:cubicBezTo>
                      <a:pt x="147" y="7"/>
                      <a:pt x="191" y="47"/>
                      <a:pt x="225" y="61"/>
                    </a:cubicBezTo>
                    <a:cubicBezTo>
                      <a:pt x="260" y="75"/>
                      <a:pt x="297" y="87"/>
                      <a:pt x="334" y="88"/>
                    </a:cubicBezTo>
                    <a:cubicBezTo>
                      <a:pt x="372" y="89"/>
                      <a:pt x="411" y="78"/>
                      <a:pt x="437" y="51"/>
                    </a:cubicBezTo>
                    <a:cubicBezTo>
                      <a:pt x="437" y="51"/>
                      <a:pt x="441" y="44"/>
                      <a:pt x="443" y="33"/>
                    </a:cubicBezTo>
                    <a:lnTo>
                      <a:pt x="443" y="32"/>
                    </a:lnTo>
                    <a:cubicBezTo>
                      <a:pt x="445" y="39"/>
                      <a:pt x="445" y="47"/>
                      <a:pt x="443" y="55"/>
                    </a:cubicBezTo>
                    <a:cubicBezTo>
                      <a:pt x="441" y="66"/>
                      <a:pt x="437" y="73"/>
                      <a:pt x="437" y="73"/>
                    </a:cubicBezTo>
                    <a:cubicBezTo>
                      <a:pt x="411" y="100"/>
                      <a:pt x="372" y="112"/>
                      <a:pt x="334" y="111"/>
                    </a:cubicBezTo>
                    <a:cubicBezTo>
                      <a:pt x="297" y="110"/>
                      <a:pt x="260" y="97"/>
                      <a:pt x="225" y="83"/>
                    </a:cubicBezTo>
                    <a:cubicBezTo>
                      <a:pt x="191" y="69"/>
                      <a:pt x="147" y="29"/>
                      <a:pt x="110" y="30"/>
                    </a:cubicBezTo>
                    <a:cubicBezTo>
                      <a:pt x="71" y="30"/>
                      <a:pt x="37" y="27"/>
                      <a:pt x="1" y="23"/>
                    </a:cubicBezTo>
                    <a:cubicBezTo>
                      <a:pt x="0" y="16"/>
                      <a:pt x="0" y="8"/>
                      <a:pt x="0" y="0"/>
                    </a:cubicBezTo>
                    <a:cubicBezTo>
                      <a:pt x="34" y="4"/>
                      <a:pt x="75" y="8"/>
                      <a:pt x="110" y="7"/>
                    </a:cubicBez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 95"/>
              <p:cNvSpPr>
                <a:spLocks/>
              </p:cNvSpPr>
              <p:nvPr/>
            </p:nvSpPr>
            <p:spPr bwMode="auto">
              <a:xfrm>
                <a:off x="3843" y="2383"/>
                <a:ext cx="144" cy="127"/>
              </a:xfrm>
              <a:custGeom>
                <a:avLst/>
                <a:gdLst>
                  <a:gd name="T0" fmla="*/ 56 w 299"/>
                  <a:gd name="T1" fmla="*/ 94 h 264"/>
                  <a:gd name="T2" fmla="*/ 61 w 299"/>
                  <a:gd name="T3" fmla="*/ 147 h 264"/>
                  <a:gd name="T4" fmla="*/ 110 w 299"/>
                  <a:gd name="T5" fmla="*/ 225 h 264"/>
                  <a:gd name="T6" fmla="*/ 187 w 299"/>
                  <a:gd name="T7" fmla="*/ 245 h 264"/>
                  <a:gd name="T8" fmla="*/ 258 w 299"/>
                  <a:gd name="T9" fmla="*/ 238 h 264"/>
                  <a:gd name="T10" fmla="*/ 299 w 299"/>
                  <a:gd name="T11" fmla="*/ 204 h 264"/>
                  <a:gd name="T12" fmla="*/ 299 w 299"/>
                  <a:gd name="T13" fmla="*/ 205 h 264"/>
                  <a:gd name="T14" fmla="*/ 252 w 299"/>
                  <a:gd name="T15" fmla="*/ 255 h 264"/>
                  <a:gd name="T16" fmla="*/ 181 w 299"/>
                  <a:gd name="T17" fmla="*/ 262 h 264"/>
                  <a:gd name="T18" fmla="*/ 104 w 299"/>
                  <a:gd name="T19" fmla="*/ 242 h 264"/>
                  <a:gd name="T20" fmla="*/ 55 w 299"/>
                  <a:gd name="T21" fmla="*/ 164 h 264"/>
                  <a:gd name="T22" fmla="*/ 50 w 299"/>
                  <a:gd name="T23" fmla="*/ 111 h 264"/>
                  <a:gd name="T24" fmla="*/ 21 w 299"/>
                  <a:gd name="T25" fmla="*/ 46 h 264"/>
                  <a:gd name="T26" fmla="*/ 9 w 299"/>
                  <a:gd name="T27" fmla="*/ 33 h 264"/>
                  <a:gd name="T28" fmla="*/ 1 w 299"/>
                  <a:gd name="T29" fmla="*/ 10 h 264"/>
                  <a:gd name="T30" fmla="*/ 2 w 299"/>
                  <a:gd name="T31" fmla="*/ 0 h 264"/>
                  <a:gd name="T32" fmla="*/ 28 w 299"/>
                  <a:gd name="T33" fmla="*/ 29 h 264"/>
                  <a:gd name="T34" fmla="*/ 56 w 299"/>
                  <a:gd name="T35" fmla="*/ 9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9" h="264">
                    <a:moveTo>
                      <a:pt x="56" y="94"/>
                    </a:moveTo>
                    <a:cubicBezTo>
                      <a:pt x="56" y="112"/>
                      <a:pt x="58" y="130"/>
                      <a:pt x="61" y="147"/>
                    </a:cubicBezTo>
                    <a:cubicBezTo>
                      <a:pt x="68" y="178"/>
                      <a:pt x="84" y="208"/>
                      <a:pt x="110" y="225"/>
                    </a:cubicBezTo>
                    <a:cubicBezTo>
                      <a:pt x="133" y="240"/>
                      <a:pt x="160" y="244"/>
                      <a:pt x="187" y="245"/>
                    </a:cubicBezTo>
                    <a:cubicBezTo>
                      <a:pt x="211" y="247"/>
                      <a:pt x="236" y="246"/>
                      <a:pt x="258" y="238"/>
                    </a:cubicBezTo>
                    <a:cubicBezTo>
                      <a:pt x="275" y="232"/>
                      <a:pt x="291" y="220"/>
                      <a:pt x="299" y="204"/>
                    </a:cubicBezTo>
                    <a:lnTo>
                      <a:pt x="299" y="205"/>
                    </a:lnTo>
                    <a:cubicBezTo>
                      <a:pt x="294" y="228"/>
                      <a:pt x="274" y="246"/>
                      <a:pt x="252" y="255"/>
                    </a:cubicBezTo>
                    <a:cubicBezTo>
                      <a:pt x="229" y="263"/>
                      <a:pt x="205" y="264"/>
                      <a:pt x="181" y="262"/>
                    </a:cubicBezTo>
                    <a:cubicBezTo>
                      <a:pt x="154" y="260"/>
                      <a:pt x="126" y="256"/>
                      <a:pt x="104" y="242"/>
                    </a:cubicBezTo>
                    <a:cubicBezTo>
                      <a:pt x="77" y="224"/>
                      <a:pt x="62" y="194"/>
                      <a:pt x="55" y="164"/>
                    </a:cubicBezTo>
                    <a:cubicBezTo>
                      <a:pt x="51" y="146"/>
                      <a:pt x="50" y="129"/>
                      <a:pt x="50" y="111"/>
                    </a:cubicBezTo>
                    <a:cubicBezTo>
                      <a:pt x="50" y="86"/>
                      <a:pt x="39" y="63"/>
                      <a:pt x="21" y="46"/>
                    </a:cubicBezTo>
                    <a:cubicBezTo>
                      <a:pt x="17" y="41"/>
                      <a:pt x="13" y="37"/>
                      <a:pt x="9" y="33"/>
                    </a:cubicBezTo>
                    <a:cubicBezTo>
                      <a:pt x="3" y="26"/>
                      <a:pt x="0" y="18"/>
                      <a:pt x="1" y="10"/>
                    </a:cubicBezTo>
                    <a:cubicBezTo>
                      <a:pt x="1" y="6"/>
                      <a:pt x="2" y="3"/>
                      <a:pt x="2" y="0"/>
                    </a:cubicBezTo>
                    <a:cubicBezTo>
                      <a:pt x="9" y="7"/>
                      <a:pt x="24" y="25"/>
                      <a:pt x="28" y="29"/>
                    </a:cubicBezTo>
                    <a:cubicBezTo>
                      <a:pt x="46" y="46"/>
                      <a:pt x="56" y="69"/>
                      <a:pt x="56" y="94"/>
                    </a:cubicBez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 96"/>
              <p:cNvSpPr>
                <a:spLocks/>
              </p:cNvSpPr>
              <p:nvPr/>
            </p:nvSpPr>
            <p:spPr bwMode="auto">
              <a:xfrm>
                <a:off x="3844" y="2340"/>
                <a:ext cx="145" cy="162"/>
              </a:xfrm>
              <a:custGeom>
                <a:avLst/>
                <a:gdLst>
                  <a:gd name="T0" fmla="*/ 188 w 301"/>
                  <a:gd name="T1" fmla="*/ 0 h 338"/>
                  <a:gd name="T2" fmla="*/ 202 w 301"/>
                  <a:gd name="T3" fmla="*/ 107 h 338"/>
                  <a:gd name="T4" fmla="*/ 259 w 301"/>
                  <a:gd name="T5" fmla="*/ 201 h 338"/>
                  <a:gd name="T6" fmla="*/ 289 w 301"/>
                  <a:gd name="T7" fmla="*/ 245 h 338"/>
                  <a:gd name="T8" fmla="*/ 297 w 301"/>
                  <a:gd name="T9" fmla="*/ 295 h 338"/>
                  <a:gd name="T10" fmla="*/ 256 w 301"/>
                  <a:gd name="T11" fmla="*/ 329 h 338"/>
                  <a:gd name="T12" fmla="*/ 185 w 301"/>
                  <a:gd name="T13" fmla="*/ 336 h 338"/>
                  <a:gd name="T14" fmla="*/ 108 w 301"/>
                  <a:gd name="T15" fmla="*/ 316 h 338"/>
                  <a:gd name="T16" fmla="*/ 59 w 301"/>
                  <a:gd name="T17" fmla="*/ 238 h 338"/>
                  <a:gd name="T18" fmla="*/ 54 w 301"/>
                  <a:gd name="T19" fmla="*/ 185 h 338"/>
                  <a:gd name="T20" fmla="*/ 26 w 301"/>
                  <a:gd name="T21" fmla="*/ 120 h 338"/>
                  <a:gd name="T22" fmla="*/ 0 w 301"/>
                  <a:gd name="T23" fmla="*/ 91 h 338"/>
                  <a:gd name="T24" fmla="*/ 26 w 301"/>
                  <a:gd name="T25" fmla="*/ 16 h 338"/>
                  <a:gd name="T26" fmla="*/ 188 w 301"/>
                  <a:gd name="T27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1" h="338">
                    <a:moveTo>
                      <a:pt x="188" y="0"/>
                    </a:moveTo>
                    <a:cubicBezTo>
                      <a:pt x="182" y="36"/>
                      <a:pt x="188" y="73"/>
                      <a:pt x="202" y="107"/>
                    </a:cubicBezTo>
                    <a:cubicBezTo>
                      <a:pt x="216" y="141"/>
                      <a:pt x="237" y="172"/>
                      <a:pt x="259" y="201"/>
                    </a:cubicBezTo>
                    <a:cubicBezTo>
                      <a:pt x="270" y="215"/>
                      <a:pt x="281" y="229"/>
                      <a:pt x="289" y="245"/>
                    </a:cubicBezTo>
                    <a:cubicBezTo>
                      <a:pt x="297" y="260"/>
                      <a:pt x="301" y="278"/>
                      <a:pt x="297" y="295"/>
                    </a:cubicBezTo>
                    <a:cubicBezTo>
                      <a:pt x="289" y="311"/>
                      <a:pt x="273" y="323"/>
                      <a:pt x="256" y="329"/>
                    </a:cubicBezTo>
                    <a:cubicBezTo>
                      <a:pt x="234" y="337"/>
                      <a:pt x="209" y="338"/>
                      <a:pt x="185" y="336"/>
                    </a:cubicBezTo>
                    <a:cubicBezTo>
                      <a:pt x="158" y="335"/>
                      <a:pt x="131" y="331"/>
                      <a:pt x="108" y="316"/>
                    </a:cubicBezTo>
                    <a:cubicBezTo>
                      <a:pt x="82" y="299"/>
                      <a:pt x="66" y="269"/>
                      <a:pt x="59" y="238"/>
                    </a:cubicBezTo>
                    <a:cubicBezTo>
                      <a:pt x="56" y="221"/>
                      <a:pt x="54" y="203"/>
                      <a:pt x="54" y="185"/>
                    </a:cubicBezTo>
                    <a:cubicBezTo>
                      <a:pt x="54" y="160"/>
                      <a:pt x="44" y="137"/>
                      <a:pt x="26" y="120"/>
                    </a:cubicBezTo>
                    <a:cubicBezTo>
                      <a:pt x="22" y="116"/>
                      <a:pt x="7" y="98"/>
                      <a:pt x="0" y="91"/>
                    </a:cubicBezTo>
                    <a:cubicBezTo>
                      <a:pt x="6" y="47"/>
                      <a:pt x="26" y="16"/>
                      <a:pt x="26" y="16"/>
                    </a:cubicBezTo>
                    <a:lnTo>
                      <a:pt x="188" y="0"/>
                    </a:lnTo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 97"/>
              <p:cNvSpPr>
                <a:spLocks/>
              </p:cNvSpPr>
              <p:nvPr/>
            </p:nvSpPr>
            <p:spPr bwMode="auto">
              <a:xfrm>
                <a:off x="3832" y="1507"/>
                <a:ext cx="352" cy="878"/>
              </a:xfrm>
              <a:custGeom>
                <a:avLst/>
                <a:gdLst>
                  <a:gd name="T0" fmla="*/ 732 w 732"/>
                  <a:gd name="T1" fmla="*/ 0 h 1829"/>
                  <a:gd name="T2" fmla="*/ 717 w 732"/>
                  <a:gd name="T3" fmla="*/ 1001 h 1829"/>
                  <a:gd name="T4" fmla="*/ 670 w 732"/>
                  <a:gd name="T5" fmla="*/ 1702 h 1829"/>
                  <a:gd name="T6" fmla="*/ 464 w 732"/>
                  <a:gd name="T7" fmla="*/ 1716 h 1829"/>
                  <a:gd name="T8" fmla="*/ 437 w 732"/>
                  <a:gd name="T9" fmla="*/ 1041 h 1829"/>
                  <a:gd name="T10" fmla="*/ 414 w 732"/>
                  <a:gd name="T11" fmla="*/ 501 h 1829"/>
                  <a:gd name="T12" fmla="*/ 346 w 732"/>
                  <a:gd name="T13" fmla="*/ 1062 h 1829"/>
                  <a:gd name="T14" fmla="*/ 232 w 732"/>
                  <a:gd name="T15" fmla="*/ 1749 h 1829"/>
                  <a:gd name="T16" fmla="*/ 23 w 732"/>
                  <a:gd name="T17" fmla="*/ 1749 h 1829"/>
                  <a:gd name="T18" fmla="*/ 70 w 732"/>
                  <a:gd name="T19" fmla="*/ 1027 h 1829"/>
                  <a:gd name="T20" fmla="*/ 103 w 732"/>
                  <a:gd name="T21" fmla="*/ 11 h 1829"/>
                  <a:gd name="T22" fmla="*/ 732 w 732"/>
                  <a:gd name="T23" fmla="*/ 0 h 1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2" h="1829">
                    <a:moveTo>
                      <a:pt x="732" y="0"/>
                    </a:moveTo>
                    <a:lnTo>
                      <a:pt x="717" y="1001"/>
                    </a:lnTo>
                    <a:lnTo>
                      <a:pt x="670" y="1702"/>
                    </a:lnTo>
                    <a:cubicBezTo>
                      <a:pt x="550" y="1777"/>
                      <a:pt x="464" y="1716"/>
                      <a:pt x="464" y="1716"/>
                    </a:cubicBezTo>
                    <a:cubicBezTo>
                      <a:pt x="418" y="1384"/>
                      <a:pt x="412" y="1180"/>
                      <a:pt x="437" y="1041"/>
                    </a:cubicBezTo>
                    <a:lnTo>
                      <a:pt x="414" y="501"/>
                    </a:lnTo>
                    <a:lnTo>
                      <a:pt x="346" y="1062"/>
                    </a:lnTo>
                    <a:lnTo>
                      <a:pt x="232" y="1749"/>
                    </a:lnTo>
                    <a:cubicBezTo>
                      <a:pt x="109" y="1829"/>
                      <a:pt x="23" y="1749"/>
                      <a:pt x="23" y="1749"/>
                    </a:cubicBezTo>
                    <a:cubicBezTo>
                      <a:pt x="23" y="1495"/>
                      <a:pt x="0" y="1210"/>
                      <a:pt x="70" y="1027"/>
                    </a:cubicBezTo>
                    <a:cubicBezTo>
                      <a:pt x="20" y="460"/>
                      <a:pt x="103" y="11"/>
                      <a:pt x="103" y="11"/>
                    </a:cubicBezTo>
                    <a:lnTo>
                      <a:pt x="732" y="0"/>
                    </a:lnTo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 98"/>
              <p:cNvSpPr>
                <a:spLocks/>
              </p:cNvSpPr>
              <p:nvPr/>
            </p:nvSpPr>
            <p:spPr bwMode="auto">
              <a:xfrm>
                <a:off x="4066" y="1621"/>
                <a:ext cx="50" cy="41"/>
              </a:xfrm>
              <a:custGeom>
                <a:avLst/>
                <a:gdLst>
                  <a:gd name="T0" fmla="*/ 19 w 105"/>
                  <a:gd name="T1" fmla="*/ 85 h 85"/>
                  <a:gd name="T2" fmla="*/ 0 w 105"/>
                  <a:gd name="T3" fmla="*/ 48 h 85"/>
                  <a:gd name="T4" fmla="*/ 105 w 105"/>
                  <a:gd name="T5" fmla="*/ 0 h 85"/>
                  <a:gd name="T6" fmla="*/ 19 w 105"/>
                  <a:gd name="T7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85">
                    <a:moveTo>
                      <a:pt x="19" y="85"/>
                    </a:moveTo>
                    <a:lnTo>
                      <a:pt x="0" y="48"/>
                    </a:lnTo>
                    <a:cubicBezTo>
                      <a:pt x="30" y="41"/>
                      <a:pt x="69" y="26"/>
                      <a:pt x="105" y="0"/>
                    </a:cubicBezTo>
                    <a:cubicBezTo>
                      <a:pt x="105" y="0"/>
                      <a:pt x="95" y="46"/>
                      <a:pt x="19" y="85"/>
                    </a:cubicBezTo>
                  </a:path>
                </a:pathLst>
              </a:custGeom>
              <a:solidFill>
                <a:srgbClr val="0F191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99"/>
              <p:cNvSpPr>
                <a:spLocks/>
              </p:cNvSpPr>
              <p:nvPr/>
            </p:nvSpPr>
            <p:spPr bwMode="auto">
              <a:xfrm>
                <a:off x="3845" y="1087"/>
                <a:ext cx="356" cy="511"/>
              </a:xfrm>
              <a:custGeom>
                <a:avLst/>
                <a:gdLst>
                  <a:gd name="T0" fmla="*/ 477 w 740"/>
                  <a:gd name="T1" fmla="*/ 0 h 1064"/>
                  <a:gd name="T2" fmla="*/ 594 w 740"/>
                  <a:gd name="T3" fmla="*/ 13 h 1064"/>
                  <a:gd name="T4" fmla="*/ 719 w 740"/>
                  <a:gd name="T5" fmla="*/ 470 h 1064"/>
                  <a:gd name="T6" fmla="*/ 705 w 740"/>
                  <a:gd name="T7" fmla="*/ 874 h 1064"/>
                  <a:gd name="T8" fmla="*/ 76 w 740"/>
                  <a:gd name="T9" fmla="*/ 885 h 1064"/>
                  <a:gd name="T10" fmla="*/ 95 w 740"/>
                  <a:gd name="T11" fmla="*/ 645 h 1064"/>
                  <a:gd name="T12" fmla="*/ 82 w 740"/>
                  <a:gd name="T13" fmla="*/ 565 h 1064"/>
                  <a:gd name="T14" fmla="*/ 8 w 740"/>
                  <a:gd name="T15" fmla="*/ 310 h 1064"/>
                  <a:gd name="T16" fmla="*/ 55 w 740"/>
                  <a:gd name="T17" fmla="*/ 86 h 1064"/>
                  <a:gd name="T18" fmla="*/ 225 w 740"/>
                  <a:gd name="T19" fmla="*/ 12 h 1064"/>
                  <a:gd name="T20" fmla="*/ 477 w 740"/>
                  <a:gd name="T21" fmla="*/ 0 h 1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0" h="1064">
                    <a:moveTo>
                      <a:pt x="477" y="0"/>
                    </a:moveTo>
                    <a:lnTo>
                      <a:pt x="594" y="13"/>
                    </a:lnTo>
                    <a:cubicBezTo>
                      <a:pt x="690" y="97"/>
                      <a:pt x="740" y="274"/>
                      <a:pt x="719" y="470"/>
                    </a:cubicBezTo>
                    <a:cubicBezTo>
                      <a:pt x="698" y="666"/>
                      <a:pt x="705" y="874"/>
                      <a:pt x="705" y="874"/>
                    </a:cubicBezTo>
                    <a:cubicBezTo>
                      <a:pt x="445" y="1064"/>
                      <a:pt x="117" y="926"/>
                      <a:pt x="76" y="885"/>
                    </a:cubicBezTo>
                    <a:lnTo>
                      <a:pt x="95" y="645"/>
                    </a:lnTo>
                    <a:cubicBezTo>
                      <a:pt x="97" y="618"/>
                      <a:pt x="93" y="590"/>
                      <a:pt x="82" y="565"/>
                    </a:cubicBezTo>
                    <a:cubicBezTo>
                      <a:pt x="58" y="509"/>
                      <a:pt x="14" y="396"/>
                      <a:pt x="8" y="310"/>
                    </a:cubicBezTo>
                    <a:cubicBezTo>
                      <a:pt x="0" y="188"/>
                      <a:pt x="55" y="86"/>
                      <a:pt x="55" y="86"/>
                    </a:cubicBezTo>
                    <a:lnTo>
                      <a:pt x="225" y="12"/>
                    </a:lnTo>
                    <a:lnTo>
                      <a:pt x="477" y="0"/>
                    </a:ln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 100"/>
              <p:cNvSpPr>
                <a:spLocks/>
              </p:cNvSpPr>
              <p:nvPr/>
            </p:nvSpPr>
            <p:spPr bwMode="auto">
              <a:xfrm>
                <a:off x="3851" y="1252"/>
                <a:ext cx="48" cy="143"/>
              </a:xfrm>
              <a:custGeom>
                <a:avLst/>
                <a:gdLst>
                  <a:gd name="T0" fmla="*/ 70 w 100"/>
                  <a:gd name="T1" fmla="*/ 223 h 298"/>
                  <a:gd name="T2" fmla="*/ 0 w 100"/>
                  <a:gd name="T3" fmla="*/ 0 h 298"/>
                  <a:gd name="T4" fmla="*/ 59 w 100"/>
                  <a:gd name="T5" fmla="*/ 53 h 298"/>
                  <a:gd name="T6" fmla="*/ 83 w 100"/>
                  <a:gd name="T7" fmla="*/ 298 h 298"/>
                  <a:gd name="T8" fmla="*/ 70 w 100"/>
                  <a:gd name="T9" fmla="*/ 223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98">
                    <a:moveTo>
                      <a:pt x="70" y="223"/>
                    </a:moveTo>
                    <a:cubicBezTo>
                      <a:pt x="48" y="173"/>
                      <a:pt x="12" y="80"/>
                      <a:pt x="0" y="0"/>
                    </a:cubicBezTo>
                    <a:cubicBezTo>
                      <a:pt x="24" y="14"/>
                      <a:pt x="49" y="28"/>
                      <a:pt x="59" y="53"/>
                    </a:cubicBezTo>
                    <a:cubicBezTo>
                      <a:pt x="91" y="129"/>
                      <a:pt x="100" y="216"/>
                      <a:pt x="83" y="298"/>
                    </a:cubicBezTo>
                    <a:cubicBezTo>
                      <a:pt x="85" y="272"/>
                      <a:pt x="80" y="247"/>
                      <a:pt x="70" y="223"/>
                    </a:cubicBez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101"/>
              <p:cNvSpPr>
                <a:spLocks/>
              </p:cNvSpPr>
              <p:nvPr/>
            </p:nvSpPr>
            <p:spPr bwMode="auto">
              <a:xfrm>
                <a:off x="4072" y="1170"/>
                <a:ext cx="65" cy="269"/>
              </a:xfrm>
              <a:custGeom>
                <a:avLst/>
                <a:gdLst>
                  <a:gd name="T0" fmla="*/ 37 w 135"/>
                  <a:gd name="T1" fmla="*/ 0 h 561"/>
                  <a:gd name="T2" fmla="*/ 133 w 135"/>
                  <a:gd name="T3" fmla="*/ 457 h 561"/>
                  <a:gd name="T4" fmla="*/ 85 w 135"/>
                  <a:gd name="T5" fmla="*/ 561 h 561"/>
                  <a:gd name="T6" fmla="*/ 10 w 135"/>
                  <a:gd name="T7" fmla="*/ 462 h 561"/>
                  <a:gd name="T8" fmla="*/ 0 w 135"/>
                  <a:gd name="T9" fmla="*/ 7 h 561"/>
                  <a:gd name="T10" fmla="*/ 37 w 135"/>
                  <a:gd name="T11" fmla="*/ 0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5" h="561">
                    <a:moveTo>
                      <a:pt x="37" y="0"/>
                    </a:moveTo>
                    <a:cubicBezTo>
                      <a:pt x="135" y="225"/>
                      <a:pt x="133" y="457"/>
                      <a:pt x="133" y="457"/>
                    </a:cubicBezTo>
                    <a:lnTo>
                      <a:pt x="85" y="561"/>
                    </a:lnTo>
                    <a:lnTo>
                      <a:pt x="10" y="462"/>
                    </a:lnTo>
                    <a:cubicBezTo>
                      <a:pt x="20" y="237"/>
                      <a:pt x="0" y="7"/>
                      <a:pt x="0" y="7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102"/>
              <p:cNvSpPr>
                <a:spLocks/>
              </p:cNvSpPr>
              <p:nvPr/>
            </p:nvSpPr>
            <p:spPr bwMode="auto">
              <a:xfrm>
                <a:off x="4045" y="1129"/>
                <a:ext cx="49" cy="45"/>
              </a:xfrm>
              <a:custGeom>
                <a:avLst/>
                <a:gdLst>
                  <a:gd name="T0" fmla="*/ 99 w 103"/>
                  <a:gd name="T1" fmla="*/ 0 h 94"/>
                  <a:gd name="T2" fmla="*/ 95 w 103"/>
                  <a:gd name="T3" fmla="*/ 85 h 94"/>
                  <a:gd name="T4" fmla="*/ 58 w 103"/>
                  <a:gd name="T5" fmla="*/ 92 h 94"/>
                  <a:gd name="T6" fmla="*/ 0 w 103"/>
                  <a:gd name="T7" fmla="*/ 21 h 94"/>
                  <a:gd name="T8" fmla="*/ 58 w 103"/>
                  <a:gd name="T9" fmla="*/ 0 h 94"/>
                  <a:gd name="T10" fmla="*/ 99 w 103"/>
                  <a:gd name="T1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94">
                    <a:moveTo>
                      <a:pt x="99" y="0"/>
                    </a:moveTo>
                    <a:cubicBezTo>
                      <a:pt x="103" y="45"/>
                      <a:pt x="95" y="85"/>
                      <a:pt x="95" y="85"/>
                    </a:cubicBezTo>
                    <a:cubicBezTo>
                      <a:pt x="82" y="94"/>
                      <a:pt x="58" y="92"/>
                      <a:pt x="58" y="92"/>
                    </a:cubicBezTo>
                    <a:cubicBezTo>
                      <a:pt x="27" y="67"/>
                      <a:pt x="0" y="21"/>
                      <a:pt x="0" y="21"/>
                    </a:cubicBezTo>
                    <a:lnTo>
                      <a:pt x="58" y="0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 103"/>
              <p:cNvSpPr>
                <a:spLocks/>
              </p:cNvSpPr>
              <p:nvPr/>
            </p:nvSpPr>
            <p:spPr bwMode="auto">
              <a:xfrm>
                <a:off x="3953" y="1066"/>
                <a:ext cx="119" cy="115"/>
              </a:xfrm>
              <a:custGeom>
                <a:avLst/>
                <a:gdLst>
                  <a:gd name="T0" fmla="*/ 248 w 248"/>
                  <a:gd name="T1" fmla="*/ 131 h 239"/>
                  <a:gd name="T2" fmla="*/ 153 w 248"/>
                  <a:gd name="T3" fmla="*/ 239 h 239"/>
                  <a:gd name="T4" fmla="*/ 0 w 248"/>
                  <a:gd name="T5" fmla="*/ 57 h 239"/>
                  <a:gd name="T6" fmla="*/ 72 w 248"/>
                  <a:gd name="T7" fmla="*/ 0 h 239"/>
                  <a:gd name="T8" fmla="*/ 248 w 248"/>
                  <a:gd name="T9" fmla="*/ 13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239">
                    <a:moveTo>
                      <a:pt x="248" y="131"/>
                    </a:moveTo>
                    <a:cubicBezTo>
                      <a:pt x="198" y="149"/>
                      <a:pt x="153" y="239"/>
                      <a:pt x="153" y="239"/>
                    </a:cubicBezTo>
                    <a:cubicBezTo>
                      <a:pt x="21" y="127"/>
                      <a:pt x="0" y="57"/>
                      <a:pt x="0" y="57"/>
                    </a:cubicBezTo>
                    <a:cubicBezTo>
                      <a:pt x="34" y="8"/>
                      <a:pt x="72" y="0"/>
                      <a:pt x="72" y="0"/>
                    </a:cubicBezTo>
                    <a:lnTo>
                      <a:pt x="248" y="131"/>
                    </a:ln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104"/>
              <p:cNvSpPr>
                <a:spLocks/>
              </p:cNvSpPr>
              <p:nvPr/>
            </p:nvSpPr>
            <p:spPr bwMode="auto">
              <a:xfrm>
                <a:off x="4072" y="1075"/>
                <a:ext cx="38" cy="80"/>
              </a:xfrm>
              <a:custGeom>
                <a:avLst/>
                <a:gdLst>
                  <a:gd name="T0" fmla="*/ 0 w 79"/>
                  <a:gd name="T1" fmla="*/ 111 h 165"/>
                  <a:gd name="T2" fmla="*/ 73 w 79"/>
                  <a:gd name="T3" fmla="*/ 165 h 165"/>
                  <a:gd name="T4" fmla="*/ 0 w 79"/>
                  <a:gd name="T5" fmla="*/ 0 h 165"/>
                  <a:gd name="T6" fmla="*/ 0 w 79"/>
                  <a:gd name="T7" fmla="*/ 111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165">
                    <a:moveTo>
                      <a:pt x="0" y="111"/>
                    </a:moveTo>
                    <a:cubicBezTo>
                      <a:pt x="39" y="112"/>
                      <a:pt x="73" y="165"/>
                      <a:pt x="73" y="165"/>
                    </a:cubicBezTo>
                    <a:cubicBezTo>
                      <a:pt x="79" y="72"/>
                      <a:pt x="0" y="0"/>
                      <a:pt x="0" y="0"/>
                    </a:cubicBezTo>
                    <a:lnTo>
                      <a:pt x="0" y="111"/>
                    </a:lnTo>
                    <a:close/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 105"/>
              <p:cNvSpPr>
                <a:spLocks/>
              </p:cNvSpPr>
              <p:nvPr/>
            </p:nvSpPr>
            <p:spPr bwMode="auto">
              <a:xfrm>
                <a:off x="3986" y="1015"/>
                <a:ext cx="86" cy="63"/>
              </a:xfrm>
              <a:custGeom>
                <a:avLst/>
                <a:gdLst>
                  <a:gd name="T0" fmla="*/ 0 w 180"/>
                  <a:gd name="T1" fmla="*/ 0 h 131"/>
                  <a:gd name="T2" fmla="*/ 180 w 180"/>
                  <a:gd name="T3" fmla="*/ 65 h 131"/>
                  <a:gd name="T4" fmla="*/ 180 w 180"/>
                  <a:gd name="T5" fmla="*/ 131 h 131"/>
                  <a:gd name="T6" fmla="*/ 66 w 180"/>
                  <a:gd name="T7" fmla="*/ 90 h 131"/>
                  <a:gd name="T8" fmla="*/ 0 w 180"/>
                  <a:gd name="T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31">
                    <a:moveTo>
                      <a:pt x="0" y="0"/>
                    </a:moveTo>
                    <a:lnTo>
                      <a:pt x="180" y="65"/>
                    </a:lnTo>
                    <a:lnTo>
                      <a:pt x="180" y="131"/>
                    </a:lnTo>
                    <a:cubicBezTo>
                      <a:pt x="140" y="124"/>
                      <a:pt x="100" y="113"/>
                      <a:pt x="66" y="90"/>
                    </a:cubicBezTo>
                    <a:cubicBezTo>
                      <a:pt x="35" y="68"/>
                      <a:pt x="12" y="36"/>
                      <a:pt x="0" y="0"/>
                    </a:cubicBezTo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106"/>
              <p:cNvSpPr>
                <a:spLocks/>
              </p:cNvSpPr>
              <p:nvPr/>
            </p:nvSpPr>
            <p:spPr bwMode="auto">
              <a:xfrm>
                <a:off x="3981" y="1014"/>
                <a:ext cx="91" cy="115"/>
              </a:xfrm>
              <a:custGeom>
                <a:avLst/>
                <a:gdLst>
                  <a:gd name="T0" fmla="*/ 10 w 190"/>
                  <a:gd name="T1" fmla="*/ 3 h 239"/>
                  <a:gd name="T2" fmla="*/ 76 w 190"/>
                  <a:gd name="T3" fmla="*/ 93 h 239"/>
                  <a:gd name="T4" fmla="*/ 190 w 190"/>
                  <a:gd name="T5" fmla="*/ 134 h 239"/>
                  <a:gd name="T6" fmla="*/ 190 w 190"/>
                  <a:gd name="T7" fmla="*/ 239 h 239"/>
                  <a:gd name="T8" fmla="*/ 0 w 190"/>
                  <a:gd name="T9" fmla="*/ 113 h 239"/>
                  <a:gd name="T10" fmla="*/ 0 w 190"/>
                  <a:gd name="T11" fmla="*/ 0 h 239"/>
                  <a:gd name="T12" fmla="*/ 10 w 190"/>
                  <a:gd name="T13" fmla="*/ 3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0" h="239">
                    <a:moveTo>
                      <a:pt x="10" y="3"/>
                    </a:moveTo>
                    <a:cubicBezTo>
                      <a:pt x="22" y="39"/>
                      <a:pt x="45" y="71"/>
                      <a:pt x="76" y="93"/>
                    </a:cubicBezTo>
                    <a:cubicBezTo>
                      <a:pt x="110" y="116"/>
                      <a:pt x="150" y="127"/>
                      <a:pt x="190" y="134"/>
                    </a:cubicBezTo>
                    <a:lnTo>
                      <a:pt x="190" y="239"/>
                    </a:lnTo>
                    <a:cubicBezTo>
                      <a:pt x="190" y="239"/>
                      <a:pt x="0" y="153"/>
                      <a:pt x="0" y="113"/>
                    </a:cubicBezTo>
                    <a:lnTo>
                      <a:pt x="0" y="0"/>
                    </a:lnTo>
                    <a:lnTo>
                      <a:pt x="10" y="3"/>
                    </a:lnTo>
                  </a:path>
                </a:pathLst>
              </a:custGeom>
              <a:solidFill>
                <a:srgbClr val="EDC1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107"/>
              <p:cNvSpPr>
                <a:spLocks/>
              </p:cNvSpPr>
              <p:nvPr/>
            </p:nvSpPr>
            <p:spPr bwMode="auto">
              <a:xfrm>
                <a:off x="3927" y="772"/>
                <a:ext cx="276" cy="218"/>
              </a:xfrm>
              <a:custGeom>
                <a:avLst/>
                <a:gdLst>
                  <a:gd name="T0" fmla="*/ 469 w 574"/>
                  <a:gd name="T1" fmla="*/ 243 h 453"/>
                  <a:gd name="T2" fmla="*/ 540 w 574"/>
                  <a:gd name="T3" fmla="*/ 220 h 453"/>
                  <a:gd name="T4" fmla="*/ 568 w 574"/>
                  <a:gd name="T5" fmla="*/ 188 h 453"/>
                  <a:gd name="T6" fmla="*/ 552 w 574"/>
                  <a:gd name="T7" fmla="*/ 166 h 453"/>
                  <a:gd name="T8" fmla="*/ 510 w 574"/>
                  <a:gd name="T9" fmla="*/ 167 h 453"/>
                  <a:gd name="T10" fmla="*/ 549 w 574"/>
                  <a:gd name="T11" fmla="*/ 19 h 453"/>
                  <a:gd name="T12" fmla="*/ 522 w 574"/>
                  <a:gd name="T13" fmla="*/ 5 h 453"/>
                  <a:gd name="T14" fmla="*/ 337 w 574"/>
                  <a:gd name="T15" fmla="*/ 43 h 453"/>
                  <a:gd name="T16" fmla="*/ 236 w 574"/>
                  <a:gd name="T17" fmla="*/ 31 h 453"/>
                  <a:gd name="T18" fmla="*/ 136 w 574"/>
                  <a:gd name="T19" fmla="*/ 46 h 453"/>
                  <a:gd name="T20" fmla="*/ 82 w 574"/>
                  <a:gd name="T21" fmla="*/ 126 h 453"/>
                  <a:gd name="T22" fmla="*/ 48 w 574"/>
                  <a:gd name="T23" fmla="*/ 107 h 453"/>
                  <a:gd name="T24" fmla="*/ 9 w 574"/>
                  <a:gd name="T25" fmla="*/ 118 h 453"/>
                  <a:gd name="T26" fmla="*/ 67 w 574"/>
                  <a:gd name="T27" fmla="*/ 151 h 453"/>
                  <a:gd name="T28" fmla="*/ 12 w 574"/>
                  <a:gd name="T29" fmla="*/ 178 h 453"/>
                  <a:gd name="T30" fmla="*/ 1 w 574"/>
                  <a:gd name="T31" fmla="*/ 241 h 453"/>
                  <a:gd name="T32" fmla="*/ 5 w 574"/>
                  <a:gd name="T33" fmla="*/ 326 h 453"/>
                  <a:gd name="T34" fmla="*/ 37 w 574"/>
                  <a:gd name="T35" fmla="*/ 404 h 453"/>
                  <a:gd name="T36" fmla="*/ 95 w 574"/>
                  <a:gd name="T37" fmla="*/ 443 h 453"/>
                  <a:gd name="T38" fmla="*/ 190 w 574"/>
                  <a:gd name="T39" fmla="*/ 440 h 453"/>
                  <a:gd name="T40" fmla="*/ 277 w 574"/>
                  <a:gd name="T41" fmla="*/ 397 h 453"/>
                  <a:gd name="T42" fmla="*/ 469 w 574"/>
                  <a:gd name="T43" fmla="*/ 243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4" h="453">
                    <a:moveTo>
                      <a:pt x="469" y="243"/>
                    </a:moveTo>
                    <a:cubicBezTo>
                      <a:pt x="495" y="244"/>
                      <a:pt x="520" y="236"/>
                      <a:pt x="540" y="220"/>
                    </a:cubicBezTo>
                    <a:cubicBezTo>
                      <a:pt x="551" y="211"/>
                      <a:pt x="561" y="200"/>
                      <a:pt x="568" y="188"/>
                    </a:cubicBezTo>
                    <a:cubicBezTo>
                      <a:pt x="574" y="177"/>
                      <a:pt x="564" y="164"/>
                      <a:pt x="552" y="166"/>
                    </a:cubicBezTo>
                    <a:cubicBezTo>
                      <a:pt x="538" y="169"/>
                      <a:pt x="524" y="169"/>
                      <a:pt x="510" y="167"/>
                    </a:cubicBezTo>
                    <a:cubicBezTo>
                      <a:pt x="542" y="125"/>
                      <a:pt x="556" y="71"/>
                      <a:pt x="549" y="19"/>
                    </a:cubicBezTo>
                    <a:cubicBezTo>
                      <a:pt x="547" y="7"/>
                      <a:pt x="534" y="0"/>
                      <a:pt x="522" y="5"/>
                    </a:cubicBezTo>
                    <a:cubicBezTo>
                      <a:pt x="465" y="33"/>
                      <a:pt x="401" y="47"/>
                      <a:pt x="337" y="43"/>
                    </a:cubicBezTo>
                    <a:cubicBezTo>
                      <a:pt x="303" y="40"/>
                      <a:pt x="270" y="33"/>
                      <a:pt x="236" y="31"/>
                    </a:cubicBezTo>
                    <a:cubicBezTo>
                      <a:pt x="202" y="28"/>
                      <a:pt x="167" y="30"/>
                      <a:pt x="136" y="46"/>
                    </a:cubicBezTo>
                    <a:cubicBezTo>
                      <a:pt x="106" y="61"/>
                      <a:pt x="82" y="92"/>
                      <a:pt x="82" y="126"/>
                    </a:cubicBezTo>
                    <a:cubicBezTo>
                      <a:pt x="74" y="115"/>
                      <a:pt x="62" y="108"/>
                      <a:pt x="48" y="107"/>
                    </a:cubicBezTo>
                    <a:cubicBezTo>
                      <a:pt x="34" y="105"/>
                      <a:pt x="19" y="109"/>
                      <a:pt x="9" y="118"/>
                    </a:cubicBezTo>
                    <a:cubicBezTo>
                      <a:pt x="28" y="129"/>
                      <a:pt x="47" y="140"/>
                      <a:pt x="67" y="151"/>
                    </a:cubicBezTo>
                    <a:cubicBezTo>
                      <a:pt x="47" y="143"/>
                      <a:pt x="22" y="159"/>
                      <a:pt x="12" y="178"/>
                    </a:cubicBezTo>
                    <a:cubicBezTo>
                      <a:pt x="2" y="197"/>
                      <a:pt x="1" y="219"/>
                      <a:pt x="1" y="241"/>
                    </a:cubicBezTo>
                    <a:cubicBezTo>
                      <a:pt x="0" y="269"/>
                      <a:pt x="0" y="298"/>
                      <a:pt x="5" y="326"/>
                    </a:cubicBezTo>
                    <a:cubicBezTo>
                      <a:pt x="9" y="354"/>
                      <a:pt x="19" y="382"/>
                      <a:pt x="37" y="404"/>
                    </a:cubicBezTo>
                    <a:cubicBezTo>
                      <a:pt x="52" y="422"/>
                      <a:pt x="73" y="436"/>
                      <a:pt x="95" y="443"/>
                    </a:cubicBezTo>
                    <a:cubicBezTo>
                      <a:pt x="126" y="453"/>
                      <a:pt x="160" y="450"/>
                      <a:pt x="190" y="440"/>
                    </a:cubicBezTo>
                    <a:cubicBezTo>
                      <a:pt x="221" y="431"/>
                      <a:pt x="249" y="414"/>
                      <a:pt x="277" y="397"/>
                    </a:cubicBezTo>
                    <a:cubicBezTo>
                      <a:pt x="345" y="354"/>
                      <a:pt x="410" y="298"/>
                      <a:pt x="469" y="24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 108"/>
              <p:cNvSpPr>
                <a:spLocks/>
              </p:cNvSpPr>
              <p:nvPr/>
            </p:nvSpPr>
            <p:spPr bwMode="auto">
              <a:xfrm>
                <a:off x="3913" y="857"/>
                <a:ext cx="251" cy="211"/>
              </a:xfrm>
              <a:custGeom>
                <a:avLst/>
                <a:gdLst>
                  <a:gd name="T0" fmla="*/ 504 w 523"/>
                  <a:gd name="T1" fmla="*/ 10 h 439"/>
                  <a:gd name="T2" fmla="*/ 466 w 523"/>
                  <a:gd name="T3" fmla="*/ 359 h 439"/>
                  <a:gd name="T4" fmla="*/ 419 w 523"/>
                  <a:gd name="T5" fmla="*/ 425 h 439"/>
                  <a:gd name="T6" fmla="*/ 334 w 523"/>
                  <a:gd name="T7" fmla="*/ 432 h 439"/>
                  <a:gd name="T8" fmla="*/ 200 w 523"/>
                  <a:gd name="T9" fmla="*/ 394 h 439"/>
                  <a:gd name="T10" fmla="*/ 107 w 523"/>
                  <a:gd name="T11" fmla="*/ 294 h 439"/>
                  <a:gd name="T12" fmla="*/ 26 w 523"/>
                  <a:gd name="T13" fmla="*/ 263 h 439"/>
                  <a:gd name="T14" fmla="*/ 0 w 523"/>
                  <a:gd name="T15" fmla="*/ 174 h 439"/>
                  <a:gd name="T16" fmla="*/ 22 w 523"/>
                  <a:gd name="T17" fmla="*/ 121 h 439"/>
                  <a:gd name="T18" fmla="*/ 73 w 523"/>
                  <a:gd name="T19" fmla="*/ 134 h 439"/>
                  <a:gd name="T20" fmla="*/ 123 w 523"/>
                  <a:gd name="T21" fmla="*/ 209 h 439"/>
                  <a:gd name="T22" fmla="*/ 170 w 523"/>
                  <a:gd name="T23" fmla="*/ 64 h 439"/>
                  <a:gd name="T24" fmla="*/ 199 w 523"/>
                  <a:gd name="T25" fmla="*/ 14 h 439"/>
                  <a:gd name="T26" fmla="*/ 269 w 523"/>
                  <a:gd name="T27" fmla="*/ 14 h 439"/>
                  <a:gd name="T28" fmla="*/ 504 w 523"/>
                  <a:gd name="T29" fmla="*/ 1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3" h="439">
                    <a:moveTo>
                      <a:pt x="504" y="10"/>
                    </a:moveTo>
                    <a:cubicBezTo>
                      <a:pt x="523" y="127"/>
                      <a:pt x="510" y="249"/>
                      <a:pt x="466" y="359"/>
                    </a:cubicBezTo>
                    <a:cubicBezTo>
                      <a:pt x="456" y="385"/>
                      <a:pt x="443" y="411"/>
                      <a:pt x="419" y="425"/>
                    </a:cubicBezTo>
                    <a:cubicBezTo>
                      <a:pt x="394" y="439"/>
                      <a:pt x="362" y="436"/>
                      <a:pt x="334" y="432"/>
                    </a:cubicBezTo>
                    <a:cubicBezTo>
                      <a:pt x="288" y="425"/>
                      <a:pt x="241" y="415"/>
                      <a:pt x="200" y="394"/>
                    </a:cubicBezTo>
                    <a:cubicBezTo>
                      <a:pt x="159" y="373"/>
                      <a:pt x="122" y="339"/>
                      <a:pt x="107" y="294"/>
                    </a:cubicBezTo>
                    <a:cubicBezTo>
                      <a:pt x="77" y="302"/>
                      <a:pt x="45" y="288"/>
                      <a:pt x="26" y="263"/>
                    </a:cubicBezTo>
                    <a:cubicBezTo>
                      <a:pt x="7" y="238"/>
                      <a:pt x="1" y="205"/>
                      <a:pt x="0" y="174"/>
                    </a:cubicBezTo>
                    <a:cubicBezTo>
                      <a:pt x="0" y="154"/>
                      <a:pt x="4" y="130"/>
                      <a:pt x="22" y="121"/>
                    </a:cubicBezTo>
                    <a:cubicBezTo>
                      <a:pt x="38" y="113"/>
                      <a:pt x="59" y="122"/>
                      <a:pt x="73" y="134"/>
                    </a:cubicBezTo>
                    <a:cubicBezTo>
                      <a:pt x="97" y="153"/>
                      <a:pt x="114" y="180"/>
                      <a:pt x="123" y="209"/>
                    </a:cubicBezTo>
                    <a:cubicBezTo>
                      <a:pt x="136" y="160"/>
                      <a:pt x="157" y="113"/>
                      <a:pt x="170" y="64"/>
                    </a:cubicBezTo>
                    <a:cubicBezTo>
                      <a:pt x="175" y="45"/>
                      <a:pt x="182" y="24"/>
                      <a:pt x="199" y="14"/>
                    </a:cubicBezTo>
                    <a:cubicBezTo>
                      <a:pt x="219" y="0"/>
                      <a:pt x="246" y="8"/>
                      <a:pt x="269" y="14"/>
                    </a:cubicBezTo>
                    <a:cubicBezTo>
                      <a:pt x="342" y="32"/>
                      <a:pt x="433" y="32"/>
                      <a:pt x="504" y="10"/>
                    </a:cubicBezTo>
                  </a:path>
                </a:pathLst>
              </a:custGeom>
              <a:solidFill>
                <a:srgbClr val="EDC1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 109"/>
              <p:cNvSpPr>
                <a:spLocks/>
              </p:cNvSpPr>
              <p:nvPr/>
            </p:nvSpPr>
            <p:spPr bwMode="auto">
              <a:xfrm>
                <a:off x="4081" y="933"/>
                <a:ext cx="33" cy="52"/>
              </a:xfrm>
              <a:custGeom>
                <a:avLst/>
                <a:gdLst>
                  <a:gd name="T0" fmla="*/ 11 w 68"/>
                  <a:gd name="T1" fmla="*/ 0 h 109"/>
                  <a:gd name="T2" fmla="*/ 68 w 68"/>
                  <a:gd name="T3" fmla="*/ 96 h 109"/>
                  <a:gd name="T4" fmla="*/ 0 w 68"/>
                  <a:gd name="T5" fmla="*/ 109 h 109"/>
                  <a:gd name="T6" fmla="*/ 11 w 68"/>
                  <a:gd name="T7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109">
                    <a:moveTo>
                      <a:pt x="11" y="0"/>
                    </a:moveTo>
                    <a:lnTo>
                      <a:pt x="68" y="96"/>
                    </a:lnTo>
                    <a:lnTo>
                      <a:pt x="0" y="109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 110"/>
              <p:cNvSpPr>
                <a:spLocks/>
              </p:cNvSpPr>
              <p:nvPr/>
            </p:nvSpPr>
            <p:spPr bwMode="auto">
              <a:xfrm>
                <a:off x="4048" y="1001"/>
                <a:ext cx="26" cy="20"/>
              </a:xfrm>
              <a:custGeom>
                <a:avLst/>
                <a:gdLst>
                  <a:gd name="T0" fmla="*/ 4 w 55"/>
                  <a:gd name="T1" fmla="*/ 0 h 42"/>
                  <a:gd name="T2" fmla="*/ 55 w 55"/>
                  <a:gd name="T3" fmla="*/ 25 h 42"/>
                  <a:gd name="T4" fmla="*/ 16 w 55"/>
                  <a:gd name="T5" fmla="*/ 36 h 42"/>
                  <a:gd name="T6" fmla="*/ 4 w 55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42">
                    <a:moveTo>
                      <a:pt x="4" y="0"/>
                    </a:moveTo>
                    <a:cubicBezTo>
                      <a:pt x="21" y="8"/>
                      <a:pt x="38" y="17"/>
                      <a:pt x="55" y="25"/>
                    </a:cubicBezTo>
                    <a:cubicBezTo>
                      <a:pt x="48" y="37"/>
                      <a:pt x="29" y="42"/>
                      <a:pt x="16" y="36"/>
                    </a:cubicBezTo>
                    <a:cubicBezTo>
                      <a:pt x="3" y="31"/>
                      <a:pt x="0" y="13"/>
                      <a:pt x="4" y="0"/>
                    </a:cubicBezTo>
                    <a:close/>
                  </a:path>
                </a:pathLst>
              </a:custGeom>
              <a:solidFill>
                <a:srgbClr val="F470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 111"/>
              <p:cNvSpPr>
                <a:spLocks/>
              </p:cNvSpPr>
              <p:nvPr/>
            </p:nvSpPr>
            <p:spPr bwMode="auto">
              <a:xfrm>
                <a:off x="4049" y="1001"/>
                <a:ext cx="25" cy="19"/>
              </a:xfrm>
              <a:custGeom>
                <a:avLst/>
                <a:gdLst>
                  <a:gd name="T0" fmla="*/ 26 w 53"/>
                  <a:gd name="T1" fmla="*/ 39 h 39"/>
                  <a:gd name="T2" fmla="*/ 14 w 53"/>
                  <a:gd name="T3" fmla="*/ 36 h 39"/>
                  <a:gd name="T4" fmla="*/ 0 w 53"/>
                  <a:gd name="T5" fmla="*/ 11 h 39"/>
                  <a:gd name="T6" fmla="*/ 2 w 53"/>
                  <a:gd name="T7" fmla="*/ 0 h 39"/>
                  <a:gd name="T8" fmla="*/ 53 w 53"/>
                  <a:gd name="T9" fmla="*/ 25 h 39"/>
                  <a:gd name="T10" fmla="*/ 26 w 53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" h="39">
                    <a:moveTo>
                      <a:pt x="26" y="39"/>
                    </a:moveTo>
                    <a:cubicBezTo>
                      <a:pt x="22" y="39"/>
                      <a:pt x="18" y="38"/>
                      <a:pt x="14" y="36"/>
                    </a:cubicBezTo>
                    <a:cubicBezTo>
                      <a:pt x="5" y="32"/>
                      <a:pt x="0" y="21"/>
                      <a:pt x="0" y="11"/>
                    </a:cubicBezTo>
                    <a:cubicBezTo>
                      <a:pt x="0" y="7"/>
                      <a:pt x="1" y="3"/>
                      <a:pt x="2" y="0"/>
                    </a:cubicBezTo>
                    <a:cubicBezTo>
                      <a:pt x="19" y="8"/>
                      <a:pt x="36" y="17"/>
                      <a:pt x="53" y="25"/>
                    </a:cubicBezTo>
                    <a:cubicBezTo>
                      <a:pt x="48" y="34"/>
                      <a:pt x="37" y="39"/>
                      <a:pt x="26" y="39"/>
                    </a:cubicBezTo>
                    <a:close/>
                  </a:path>
                </a:pathLst>
              </a:custGeom>
              <a:solidFill>
                <a:srgbClr val="D16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 112"/>
              <p:cNvSpPr>
                <a:spLocks/>
              </p:cNvSpPr>
              <p:nvPr/>
            </p:nvSpPr>
            <p:spPr bwMode="auto">
              <a:xfrm>
                <a:off x="4049" y="1005"/>
                <a:ext cx="15" cy="15"/>
              </a:xfrm>
              <a:custGeom>
                <a:avLst/>
                <a:gdLst>
                  <a:gd name="T0" fmla="*/ 32 w 32"/>
                  <a:gd name="T1" fmla="*/ 29 h 30"/>
                  <a:gd name="T2" fmla="*/ 14 w 32"/>
                  <a:gd name="T3" fmla="*/ 27 h 30"/>
                  <a:gd name="T4" fmla="*/ 0 w 32"/>
                  <a:gd name="T5" fmla="*/ 0 h 30"/>
                  <a:gd name="T6" fmla="*/ 21 w 32"/>
                  <a:gd name="T7" fmla="*/ 7 h 30"/>
                  <a:gd name="T8" fmla="*/ 32 w 32"/>
                  <a:gd name="T9" fmla="*/ 2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32" y="29"/>
                    </a:moveTo>
                    <a:cubicBezTo>
                      <a:pt x="26" y="30"/>
                      <a:pt x="19" y="30"/>
                      <a:pt x="14" y="27"/>
                    </a:cubicBezTo>
                    <a:cubicBezTo>
                      <a:pt x="4" y="23"/>
                      <a:pt x="0" y="11"/>
                      <a:pt x="0" y="0"/>
                    </a:cubicBezTo>
                    <a:cubicBezTo>
                      <a:pt x="8" y="0"/>
                      <a:pt x="15" y="2"/>
                      <a:pt x="21" y="7"/>
                    </a:cubicBezTo>
                    <a:cubicBezTo>
                      <a:pt x="27" y="12"/>
                      <a:pt x="31" y="21"/>
                      <a:pt x="32" y="29"/>
                    </a:cubicBezTo>
                    <a:close/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 113"/>
              <p:cNvSpPr>
                <a:spLocks/>
              </p:cNvSpPr>
              <p:nvPr/>
            </p:nvSpPr>
            <p:spPr bwMode="auto">
              <a:xfrm>
                <a:off x="4039" y="926"/>
                <a:ext cx="19" cy="19"/>
              </a:xfrm>
              <a:custGeom>
                <a:avLst/>
                <a:gdLst>
                  <a:gd name="T0" fmla="*/ 1 w 41"/>
                  <a:gd name="T1" fmla="*/ 19 h 41"/>
                  <a:gd name="T2" fmla="*/ 18 w 41"/>
                  <a:gd name="T3" fmla="*/ 40 h 41"/>
                  <a:gd name="T4" fmla="*/ 40 w 41"/>
                  <a:gd name="T5" fmla="*/ 23 h 41"/>
                  <a:gd name="T6" fmla="*/ 22 w 41"/>
                  <a:gd name="T7" fmla="*/ 1 h 41"/>
                  <a:gd name="T8" fmla="*/ 1 w 41"/>
                  <a:gd name="T9" fmla="*/ 1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1">
                    <a:moveTo>
                      <a:pt x="1" y="19"/>
                    </a:moveTo>
                    <a:cubicBezTo>
                      <a:pt x="0" y="30"/>
                      <a:pt x="7" y="39"/>
                      <a:pt x="18" y="40"/>
                    </a:cubicBezTo>
                    <a:cubicBezTo>
                      <a:pt x="29" y="41"/>
                      <a:pt x="38" y="33"/>
                      <a:pt x="40" y="23"/>
                    </a:cubicBezTo>
                    <a:cubicBezTo>
                      <a:pt x="41" y="12"/>
                      <a:pt x="33" y="2"/>
                      <a:pt x="22" y="1"/>
                    </a:cubicBezTo>
                    <a:cubicBezTo>
                      <a:pt x="11" y="0"/>
                      <a:pt x="2" y="8"/>
                      <a:pt x="1" y="19"/>
                    </a:cubicBez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 114"/>
              <p:cNvSpPr>
                <a:spLocks/>
              </p:cNvSpPr>
              <p:nvPr/>
            </p:nvSpPr>
            <p:spPr bwMode="auto">
              <a:xfrm>
                <a:off x="4118" y="930"/>
                <a:ext cx="19" cy="20"/>
              </a:xfrm>
              <a:custGeom>
                <a:avLst/>
                <a:gdLst>
                  <a:gd name="T0" fmla="*/ 1 w 41"/>
                  <a:gd name="T1" fmla="*/ 19 h 41"/>
                  <a:gd name="T2" fmla="*/ 18 w 41"/>
                  <a:gd name="T3" fmla="*/ 40 h 41"/>
                  <a:gd name="T4" fmla="*/ 40 w 41"/>
                  <a:gd name="T5" fmla="*/ 23 h 41"/>
                  <a:gd name="T6" fmla="*/ 22 w 41"/>
                  <a:gd name="T7" fmla="*/ 1 h 41"/>
                  <a:gd name="T8" fmla="*/ 1 w 41"/>
                  <a:gd name="T9" fmla="*/ 1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1">
                    <a:moveTo>
                      <a:pt x="1" y="19"/>
                    </a:moveTo>
                    <a:cubicBezTo>
                      <a:pt x="0" y="30"/>
                      <a:pt x="7" y="39"/>
                      <a:pt x="18" y="40"/>
                    </a:cubicBezTo>
                    <a:cubicBezTo>
                      <a:pt x="29" y="41"/>
                      <a:pt x="38" y="34"/>
                      <a:pt x="40" y="23"/>
                    </a:cubicBezTo>
                    <a:cubicBezTo>
                      <a:pt x="41" y="12"/>
                      <a:pt x="33" y="3"/>
                      <a:pt x="22" y="1"/>
                    </a:cubicBezTo>
                    <a:cubicBezTo>
                      <a:pt x="11" y="0"/>
                      <a:pt x="2" y="8"/>
                      <a:pt x="1" y="19"/>
                    </a:cubicBezTo>
                    <a:close/>
                  </a:path>
                </a:pathLst>
              </a:custGeom>
              <a:solidFill>
                <a:srgbClr val="1728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115"/>
              <p:cNvSpPr>
                <a:spLocks/>
              </p:cNvSpPr>
              <p:nvPr/>
            </p:nvSpPr>
            <p:spPr bwMode="auto">
              <a:xfrm>
                <a:off x="4131" y="901"/>
                <a:ext cx="22" cy="19"/>
              </a:xfrm>
              <a:custGeom>
                <a:avLst/>
                <a:gdLst>
                  <a:gd name="T0" fmla="*/ 0 w 46"/>
                  <a:gd name="T1" fmla="*/ 5 h 40"/>
                  <a:gd name="T2" fmla="*/ 41 w 46"/>
                  <a:gd name="T3" fmla="*/ 40 h 40"/>
                  <a:gd name="T4" fmla="*/ 35 w 46"/>
                  <a:gd name="T5" fmla="*/ 8 h 40"/>
                  <a:gd name="T6" fmla="*/ 0 w 46"/>
                  <a:gd name="T7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40">
                    <a:moveTo>
                      <a:pt x="0" y="5"/>
                    </a:moveTo>
                    <a:cubicBezTo>
                      <a:pt x="14" y="17"/>
                      <a:pt x="27" y="28"/>
                      <a:pt x="41" y="40"/>
                    </a:cubicBezTo>
                    <a:cubicBezTo>
                      <a:pt x="46" y="30"/>
                      <a:pt x="43" y="16"/>
                      <a:pt x="35" y="8"/>
                    </a:cubicBezTo>
                    <a:cubicBezTo>
                      <a:pt x="27" y="0"/>
                      <a:pt x="10" y="0"/>
                      <a:pt x="0" y="5"/>
                    </a:cubicBezTo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 116"/>
              <p:cNvSpPr>
                <a:spLocks/>
              </p:cNvSpPr>
              <p:nvPr/>
            </p:nvSpPr>
            <p:spPr bwMode="auto">
              <a:xfrm>
                <a:off x="4027" y="889"/>
                <a:ext cx="24" cy="17"/>
              </a:xfrm>
              <a:custGeom>
                <a:avLst/>
                <a:gdLst>
                  <a:gd name="T0" fmla="*/ 49 w 49"/>
                  <a:gd name="T1" fmla="*/ 10 h 36"/>
                  <a:gd name="T2" fmla="*/ 3 w 49"/>
                  <a:gd name="T3" fmla="*/ 36 h 36"/>
                  <a:gd name="T4" fmla="*/ 14 w 49"/>
                  <a:gd name="T5" fmla="*/ 6 h 36"/>
                  <a:gd name="T6" fmla="*/ 49 w 49"/>
                  <a:gd name="T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36">
                    <a:moveTo>
                      <a:pt x="49" y="10"/>
                    </a:moveTo>
                    <a:cubicBezTo>
                      <a:pt x="34" y="19"/>
                      <a:pt x="18" y="27"/>
                      <a:pt x="3" y="36"/>
                    </a:cubicBezTo>
                    <a:cubicBezTo>
                      <a:pt x="0" y="25"/>
                      <a:pt x="5" y="12"/>
                      <a:pt x="14" y="6"/>
                    </a:cubicBezTo>
                    <a:cubicBezTo>
                      <a:pt x="24" y="0"/>
                      <a:pt x="40" y="3"/>
                      <a:pt x="49" y="10"/>
                    </a:cubicBezTo>
                    <a:close/>
                  </a:path>
                </a:pathLst>
              </a:custGeom>
              <a:solidFill>
                <a:srgbClr val="DADB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117"/>
              <p:cNvSpPr>
                <a:spLocks/>
              </p:cNvSpPr>
              <p:nvPr/>
            </p:nvSpPr>
            <p:spPr bwMode="auto">
              <a:xfrm>
                <a:off x="3471" y="1223"/>
                <a:ext cx="210" cy="157"/>
              </a:xfrm>
              <a:custGeom>
                <a:avLst/>
                <a:gdLst>
                  <a:gd name="T0" fmla="*/ 436 w 436"/>
                  <a:gd name="T1" fmla="*/ 225 h 326"/>
                  <a:gd name="T2" fmla="*/ 374 w 436"/>
                  <a:gd name="T3" fmla="*/ 195 h 326"/>
                  <a:gd name="T4" fmla="*/ 328 w 436"/>
                  <a:gd name="T5" fmla="*/ 152 h 326"/>
                  <a:gd name="T6" fmla="*/ 309 w 436"/>
                  <a:gd name="T7" fmla="*/ 118 h 326"/>
                  <a:gd name="T8" fmla="*/ 252 w 436"/>
                  <a:gd name="T9" fmla="*/ 65 h 326"/>
                  <a:gd name="T10" fmla="*/ 153 w 436"/>
                  <a:gd name="T11" fmla="*/ 0 h 326"/>
                  <a:gd name="T12" fmla="*/ 161 w 436"/>
                  <a:gd name="T13" fmla="*/ 64 h 326"/>
                  <a:gd name="T14" fmla="*/ 201 w 436"/>
                  <a:gd name="T15" fmla="*/ 97 h 326"/>
                  <a:gd name="T16" fmla="*/ 172 w 436"/>
                  <a:gd name="T17" fmla="*/ 104 h 326"/>
                  <a:gd name="T18" fmla="*/ 107 w 436"/>
                  <a:gd name="T19" fmla="*/ 100 h 326"/>
                  <a:gd name="T20" fmla="*/ 22 w 436"/>
                  <a:gd name="T21" fmla="*/ 67 h 326"/>
                  <a:gd name="T22" fmla="*/ 2 w 436"/>
                  <a:gd name="T23" fmla="*/ 83 h 326"/>
                  <a:gd name="T24" fmla="*/ 44 w 436"/>
                  <a:gd name="T25" fmla="*/ 190 h 326"/>
                  <a:gd name="T26" fmla="*/ 130 w 436"/>
                  <a:gd name="T27" fmla="*/ 251 h 326"/>
                  <a:gd name="T28" fmla="*/ 240 w 436"/>
                  <a:gd name="T29" fmla="*/ 269 h 326"/>
                  <a:gd name="T30" fmla="*/ 279 w 436"/>
                  <a:gd name="T31" fmla="*/ 281 h 326"/>
                  <a:gd name="T32" fmla="*/ 370 w 436"/>
                  <a:gd name="T33" fmla="*/ 326 h 326"/>
                  <a:gd name="T34" fmla="*/ 436 w 436"/>
                  <a:gd name="T35" fmla="*/ 225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6" h="326">
                    <a:moveTo>
                      <a:pt x="436" y="225"/>
                    </a:moveTo>
                    <a:lnTo>
                      <a:pt x="374" y="195"/>
                    </a:lnTo>
                    <a:cubicBezTo>
                      <a:pt x="355" y="185"/>
                      <a:pt x="339" y="170"/>
                      <a:pt x="328" y="152"/>
                    </a:cubicBezTo>
                    <a:lnTo>
                      <a:pt x="309" y="118"/>
                    </a:lnTo>
                    <a:cubicBezTo>
                      <a:pt x="295" y="95"/>
                      <a:pt x="275" y="77"/>
                      <a:pt x="252" y="65"/>
                    </a:cubicBezTo>
                    <a:cubicBezTo>
                      <a:pt x="191" y="35"/>
                      <a:pt x="153" y="0"/>
                      <a:pt x="153" y="0"/>
                    </a:cubicBezTo>
                    <a:cubicBezTo>
                      <a:pt x="140" y="20"/>
                      <a:pt x="143" y="48"/>
                      <a:pt x="161" y="64"/>
                    </a:cubicBezTo>
                    <a:cubicBezTo>
                      <a:pt x="180" y="82"/>
                      <a:pt x="201" y="97"/>
                      <a:pt x="201" y="97"/>
                    </a:cubicBezTo>
                    <a:lnTo>
                      <a:pt x="172" y="104"/>
                    </a:lnTo>
                    <a:cubicBezTo>
                      <a:pt x="150" y="110"/>
                      <a:pt x="127" y="108"/>
                      <a:pt x="107" y="100"/>
                    </a:cubicBezTo>
                    <a:lnTo>
                      <a:pt x="22" y="67"/>
                    </a:lnTo>
                    <a:cubicBezTo>
                      <a:pt x="11" y="63"/>
                      <a:pt x="0" y="72"/>
                      <a:pt x="2" y="83"/>
                    </a:cubicBezTo>
                    <a:cubicBezTo>
                      <a:pt x="8" y="122"/>
                      <a:pt x="27" y="161"/>
                      <a:pt x="44" y="190"/>
                    </a:cubicBezTo>
                    <a:cubicBezTo>
                      <a:pt x="62" y="222"/>
                      <a:pt x="94" y="244"/>
                      <a:pt x="130" y="251"/>
                    </a:cubicBezTo>
                    <a:cubicBezTo>
                      <a:pt x="174" y="259"/>
                      <a:pt x="216" y="265"/>
                      <a:pt x="240" y="269"/>
                    </a:cubicBezTo>
                    <a:cubicBezTo>
                      <a:pt x="254" y="271"/>
                      <a:pt x="267" y="275"/>
                      <a:pt x="279" y="281"/>
                    </a:cubicBezTo>
                    <a:lnTo>
                      <a:pt x="370" y="326"/>
                    </a:lnTo>
                    <a:lnTo>
                      <a:pt x="436" y="225"/>
                    </a:lnTo>
                  </a:path>
                </a:pathLst>
              </a:custGeom>
              <a:solidFill>
                <a:srgbClr val="F687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 118"/>
              <p:cNvSpPr>
                <a:spLocks/>
              </p:cNvSpPr>
              <p:nvPr/>
            </p:nvSpPr>
            <p:spPr bwMode="auto">
              <a:xfrm>
                <a:off x="3680" y="1129"/>
                <a:ext cx="199" cy="366"/>
              </a:xfrm>
              <a:custGeom>
                <a:avLst/>
                <a:gdLst>
                  <a:gd name="T0" fmla="*/ 62 w 416"/>
                  <a:gd name="T1" fmla="*/ 518 h 762"/>
                  <a:gd name="T2" fmla="*/ 73 w 416"/>
                  <a:gd name="T3" fmla="*/ 437 h 762"/>
                  <a:gd name="T4" fmla="*/ 189 w 416"/>
                  <a:gd name="T5" fmla="*/ 493 h 762"/>
                  <a:gd name="T6" fmla="*/ 238 w 416"/>
                  <a:gd name="T7" fmla="*/ 234 h 762"/>
                  <a:gd name="T8" fmla="*/ 400 w 416"/>
                  <a:gd name="T9" fmla="*/ 0 h 762"/>
                  <a:gd name="T10" fmla="*/ 416 w 416"/>
                  <a:gd name="T11" fmla="*/ 309 h 762"/>
                  <a:gd name="T12" fmla="*/ 290 w 416"/>
                  <a:gd name="T13" fmla="*/ 728 h 762"/>
                  <a:gd name="T14" fmla="*/ 0 w 416"/>
                  <a:gd name="T15" fmla="*/ 589 h 762"/>
                  <a:gd name="T16" fmla="*/ 62 w 416"/>
                  <a:gd name="T17" fmla="*/ 518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762">
                    <a:moveTo>
                      <a:pt x="62" y="518"/>
                    </a:moveTo>
                    <a:cubicBezTo>
                      <a:pt x="72" y="493"/>
                      <a:pt x="76" y="464"/>
                      <a:pt x="73" y="437"/>
                    </a:cubicBezTo>
                    <a:lnTo>
                      <a:pt x="189" y="493"/>
                    </a:lnTo>
                    <a:cubicBezTo>
                      <a:pt x="189" y="493"/>
                      <a:pt x="225" y="352"/>
                      <a:pt x="238" y="234"/>
                    </a:cubicBezTo>
                    <a:cubicBezTo>
                      <a:pt x="252" y="117"/>
                      <a:pt x="249" y="38"/>
                      <a:pt x="400" y="0"/>
                    </a:cubicBezTo>
                    <a:lnTo>
                      <a:pt x="416" y="309"/>
                    </a:lnTo>
                    <a:cubicBezTo>
                      <a:pt x="416" y="309"/>
                      <a:pt x="398" y="686"/>
                      <a:pt x="290" y="728"/>
                    </a:cubicBezTo>
                    <a:cubicBezTo>
                      <a:pt x="200" y="762"/>
                      <a:pt x="137" y="677"/>
                      <a:pt x="0" y="589"/>
                    </a:cubicBezTo>
                    <a:cubicBezTo>
                      <a:pt x="27" y="572"/>
                      <a:pt x="49" y="547"/>
                      <a:pt x="62" y="518"/>
                    </a:cubicBezTo>
                    <a:close/>
                  </a:path>
                </a:pathLst>
              </a:custGeom>
              <a:solidFill>
                <a:srgbClr val="3353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 119"/>
              <p:cNvSpPr>
                <a:spLocks/>
              </p:cNvSpPr>
              <p:nvPr/>
            </p:nvSpPr>
            <p:spPr bwMode="auto">
              <a:xfrm>
                <a:off x="3637" y="1320"/>
                <a:ext cx="79" cy="92"/>
              </a:xfrm>
              <a:custGeom>
                <a:avLst/>
                <a:gdLst>
                  <a:gd name="T0" fmla="*/ 54 w 165"/>
                  <a:gd name="T1" fmla="*/ 0 h 190"/>
                  <a:gd name="T2" fmla="*/ 162 w 165"/>
                  <a:gd name="T3" fmla="*/ 38 h 190"/>
                  <a:gd name="T4" fmla="*/ 151 w 165"/>
                  <a:gd name="T5" fmla="*/ 119 h 190"/>
                  <a:gd name="T6" fmla="*/ 89 w 165"/>
                  <a:gd name="T7" fmla="*/ 190 h 190"/>
                  <a:gd name="T8" fmla="*/ 0 w 165"/>
                  <a:gd name="T9" fmla="*/ 119 h 190"/>
                  <a:gd name="T10" fmla="*/ 54 w 165"/>
                  <a:gd name="T11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190">
                    <a:moveTo>
                      <a:pt x="54" y="0"/>
                    </a:moveTo>
                    <a:lnTo>
                      <a:pt x="162" y="38"/>
                    </a:lnTo>
                    <a:cubicBezTo>
                      <a:pt x="165" y="65"/>
                      <a:pt x="161" y="94"/>
                      <a:pt x="151" y="119"/>
                    </a:cubicBezTo>
                    <a:cubicBezTo>
                      <a:pt x="138" y="148"/>
                      <a:pt x="116" y="173"/>
                      <a:pt x="89" y="190"/>
                    </a:cubicBezTo>
                    <a:cubicBezTo>
                      <a:pt x="61" y="171"/>
                      <a:pt x="24" y="140"/>
                      <a:pt x="0" y="119"/>
                    </a:cubicBezTo>
                    <a:cubicBezTo>
                      <a:pt x="0" y="119"/>
                      <a:pt x="46" y="102"/>
                      <a:pt x="54" y="0"/>
                    </a:cubicBezTo>
                  </a:path>
                </a:pathLst>
              </a:custGeom>
              <a:solidFill>
                <a:srgbClr val="273E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 120"/>
              <p:cNvSpPr>
                <a:spLocks/>
              </p:cNvSpPr>
              <p:nvPr/>
            </p:nvSpPr>
            <p:spPr bwMode="auto">
              <a:xfrm>
                <a:off x="4166" y="2805"/>
                <a:ext cx="937" cy="542"/>
              </a:xfrm>
              <a:custGeom>
                <a:avLst/>
                <a:gdLst>
                  <a:gd name="T0" fmla="*/ 0 w 937"/>
                  <a:gd name="T1" fmla="*/ 328 h 542"/>
                  <a:gd name="T2" fmla="*/ 568 w 937"/>
                  <a:gd name="T3" fmla="*/ 0 h 542"/>
                  <a:gd name="T4" fmla="*/ 937 w 937"/>
                  <a:gd name="T5" fmla="*/ 215 h 542"/>
                  <a:gd name="T6" fmla="*/ 375 w 937"/>
                  <a:gd name="T7" fmla="*/ 542 h 542"/>
                  <a:gd name="T8" fmla="*/ 0 w 937"/>
                  <a:gd name="T9" fmla="*/ 328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7" h="542">
                    <a:moveTo>
                      <a:pt x="0" y="328"/>
                    </a:moveTo>
                    <a:lnTo>
                      <a:pt x="568" y="0"/>
                    </a:lnTo>
                    <a:lnTo>
                      <a:pt x="937" y="215"/>
                    </a:lnTo>
                    <a:lnTo>
                      <a:pt x="375" y="542"/>
                    </a:lnTo>
                    <a:lnTo>
                      <a:pt x="0" y="328"/>
                    </a:lnTo>
                    <a:close/>
                  </a:path>
                </a:pathLst>
              </a:custGeom>
              <a:solidFill>
                <a:srgbClr val="E99F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 121"/>
              <p:cNvSpPr>
                <a:spLocks/>
              </p:cNvSpPr>
              <p:nvPr/>
            </p:nvSpPr>
            <p:spPr bwMode="auto">
              <a:xfrm>
                <a:off x="4166" y="3133"/>
                <a:ext cx="375" cy="664"/>
              </a:xfrm>
              <a:custGeom>
                <a:avLst/>
                <a:gdLst>
                  <a:gd name="T0" fmla="*/ 0 w 375"/>
                  <a:gd name="T1" fmla="*/ 447 h 664"/>
                  <a:gd name="T2" fmla="*/ 0 w 375"/>
                  <a:gd name="T3" fmla="*/ 0 h 664"/>
                  <a:gd name="T4" fmla="*/ 375 w 375"/>
                  <a:gd name="T5" fmla="*/ 214 h 664"/>
                  <a:gd name="T6" fmla="*/ 375 w 375"/>
                  <a:gd name="T7" fmla="*/ 664 h 664"/>
                  <a:gd name="T8" fmla="*/ 0 w 375"/>
                  <a:gd name="T9" fmla="*/ 447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5" h="664">
                    <a:moveTo>
                      <a:pt x="0" y="447"/>
                    </a:moveTo>
                    <a:lnTo>
                      <a:pt x="0" y="0"/>
                    </a:lnTo>
                    <a:lnTo>
                      <a:pt x="375" y="214"/>
                    </a:lnTo>
                    <a:lnTo>
                      <a:pt x="375" y="664"/>
                    </a:lnTo>
                    <a:lnTo>
                      <a:pt x="0" y="447"/>
                    </a:lnTo>
                    <a:close/>
                  </a:path>
                </a:pathLst>
              </a:custGeom>
              <a:solidFill>
                <a:srgbClr val="D16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 122"/>
              <p:cNvSpPr>
                <a:spLocks/>
              </p:cNvSpPr>
              <p:nvPr/>
            </p:nvSpPr>
            <p:spPr bwMode="auto">
              <a:xfrm>
                <a:off x="4541" y="3020"/>
                <a:ext cx="562" cy="777"/>
              </a:xfrm>
              <a:custGeom>
                <a:avLst/>
                <a:gdLst>
                  <a:gd name="T0" fmla="*/ 0 w 562"/>
                  <a:gd name="T1" fmla="*/ 777 h 777"/>
                  <a:gd name="T2" fmla="*/ 562 w 562"/>
                  <a:gd name="T3" fmla="*/ 450 h 777"/>
                  <a:gd name="T4" fmla="*/ 562 w 562"/>
                  <a:gd name="T5" fmla="*/ 0 h 777"/>
                  <a:gd name="T6" fmla="*/ 0 w 562"/>
                  <a:gd name="T7" fmla="*/ 327 h 777"/>
                  <a:gd name="T8" fmla="*/ 0 w 562"/>
                  <a:gd name="T9" fmla="*/ 777 h 7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2" h="777">
                    <a:moveTo>
                      <a:pt x="0" y="777"/>
                    </a:moveTo>
                    <a:lnTo>
                      <a:pt x="562" y="450"/>
                    </a:lnTo>
                    <a:lnTo>
                      <a:pt x="562" y="0"/>
                    </a:lnTo>
                    <a:lnTo>
                      <a:pt x="0" y="327"/>
                    </a:lnTo>
                    <a:lnTo>
                      <a:pt x="0" y="777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 123"/>
              <p:cNvSpPr>
                <a:spLocks/>
              </p:cNvSpPr>
              <p:nvPr/>
            </p:nvSpPr>
            <p:spPr bwMode="auto">
              <a:xfrm>
                <a:off x="4541" y="3045"/>
                <a:ext cx="562" cy="752"/>
              </a:xfrm>
              <a:custGeom>
                <a:avLst/>
                <a:gdLst>
                  <a:gd name="T0" fmla="*/ 0 w 562"/>
                  <a:gd name="T1" fmla="*/ 752 h 752"/>
                  <a:gd name="T2" fmla="*/ 0 w 562"/>
                  <a:gd name="T3" fmla="*/ 327 h 752"/>
                  <a:gd name="T4" fmla="*/ 562 w 562"/>
                  <a:gd name="T5" fmla="*/ 0 h 752"/>
                  <a:gd name="T6" fmla="*/ 562 w 562"/>
                  <a:gd name="T7" fmla="*/ 425 h 752"/>
                  <a:gd name="T8" fmla="*/ 0 w 562"/>
                  <a:gd name="T9" fmla="*/ 752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2" h="752">
                    <a:moveTo>
                      <a:pt x="0" y="752"/>
                    </a:moveTo>
                    <a:lnTo>
                      <a:pt x="0" y="327"/>
                    </a:lnTo>
                    <a:lnTo>
                      <a:pt x="562" y="0"/>
                    </a:lnTo>
                    <a:lnTo>
                      <a:pt x="562" y="425"/>
                    </a:lnTo>
                    <a:lnTo>
                      <a:pt x="0" y="752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 124"/>
              <p:cNvSpPr>
                <a:spLocks/>
              </p:cNvSpPr>
              <p:nvPr/>
            </p:nvSpPr>
            <p:spPr bwMode="auto">
              <a:xfrm>
                <a:off x="4122" y="2723"/>
                <a:ext cx="1024" cy="592"/>
              </a:xfrm>
              <a:custGeom>
                <a:avLst/>
                <a:gdLst>
                  <a:gd name="T0" fmla="*/ 0 w 1024"/>
                  <a:gd name="T1" fmla="*/ 359 h 592"/>
                  <a:gd name="T2" fmla="*/ 621 w 1024"/>
                  <a:gd name="T3" fmla="*/ 0 h 592"/>
                  <a:gd name="T4" fmla="*/ 1024 w 1024"/>
                  <a:gd name="T5" fmla="*/ 236 h 592"/>
                  <a:gd name="T6" fmla="*/ 410 w 1024"/>
                  <a:gd name="T7" fmla="*/ 592 h 592"/>
                  <a:gd name="T8" fmla="*/ 0 w 1024"/>
                  <a:gd name="T9" fmla="*/ 359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4" h="592">
                    <a:moveTo>
                      <a:pt x="0" y="359"/>
                    </a:moveTo>
                    <a:lnTo>
                      <a:pt x="621" y="0"/>
                    </a:lnTo>
                    <a:lnTo>
                      <a:pt x="1024" y="236"/>
                    </a:lnTo>
                    <a:lnTo>
                      <a:pt x="410" y="592"/>
                    </a:lnTo>
                    <a:lnTo>
                      <a:pt x="0" y="359"/>
                    </a:lnTo>
                    <a:close/>
                  </a:path>
                </a:pathLst>
              </a:custGeom>
              <a:solidFill>
                <a:srgbClr val="ECBE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 125"/>
              <p:cNvSpPr>
                <a:spLocks/>
              </p:cNvSpPr>
              <p:nvPr/>
            </p:nvSpPr>
            <p:spPr bwMode="auto">
              <a:xfrm>
                <a:off x="4122" y="3082"/>
                <a:ext cx="410" cy="294"/>
              </a:xfrm>
              <a:custGeom>
                <a:avLst/>
                <a:gdLst>
                  <a:gd name="T0" fmla="*/ 0 w 410"/>
                  <a:gd name="T1" fmla="*/ 58 h 294"/>
                  <a:gd name="T2" fmla="*/ 0 w 410"/>
                  <a:gd name="T3" fmla="*/ 0 h 294"/>
                  <a:gd name="T4" fmla="*/ 410 w 410"/>
                  <a:gd name="T5" fmla="*/ 233 h 294"/>
                  <a:gd name="T6" fmla="*/ 410 w 410"/>
                  <a:gd name="T7" fmla="*/ 294 h 294"/>
                  <a:gd name="T8" fmla="*/ 0 w 410"/>
                  <a:gd name="T9" fmla="*/ 58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294">
                    <a:moveTo>
                      <a:pt x="0" y="58"/>
                    </a:moveTo>
                    <a:lnTo>
                      <a:pt x="0" y="0"/>
                    </a:lnTo>
                    <a:lnTo>
                      <a:pt x="410" y="233"/>
                    </a:lnTo>
                    <a:lnTo>
                      <a:pt x="410" y="294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 126"/>
              <p:cNvSpPr>
                <a:spLocks/>
              </p:cNvSpPr>
              <p:nvPr/>
            </p:nvSpPr>
            <p:spPr bwMode="auto">
              <a:xfrm>
                <a:off x="4532" y="2959"/>
                <a:ext cx="614" cy="417"/>
              </a:xfrm>
              <a:custGeom>
                <a:avLst/>
                <a:gdLst>
                  <a:gd name="T0" fmla="*/ 0 w 614"/>
                  <a:gd name="T1" fmla="*/ 417 h 417"/>
                  <a:gd name="T2" fmla="*/ 614 w 614"/>
                  <a:gd name="T3" fmla="*/ 61 h 417"/>
                  <a:gd name="T4" fmla="*/ 614 w 614"/>
                  <a:gd name="T5" fmla="*/ 0 h 417"/>
                  <a:gd name="T6" fmla="*/ 0 w 614"/>
                  <a:gd name="T7" fmla="*/ 356 h 417"/>
                  <a:gd name="T8" fmla="*/ 0 w 614"/>
                  <a:gd name="T9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4" h="417">
                    <a:moveTo>
                      <a:pt x="0" y="417"/>
                    </a:moveTo>
                    <a:lnTo>
                      <a:pt x="614" y="61"/>
                    </a:lnTo>
                    <a:lnTo>
                      <a:pt x="614" y="0"/>
                    </a:lnTo>
                    <a:lnTo>
                      <a:pt x="0" y="356"/>
                    </a:lnTo>
                    <a:lnTo>
                      <a:pt x="0" y="417"/>
                    </a:ln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 127"/>
              <p:cNvSpPr>
                <a:spLocks/>
              </p:cNvSpPr>
              <p:nvPr/>
            </p:nvSpPr>
            <p:spPr bwMode="auto">
              <a:xfrm>
                <a:off x="4122" y="3082"/>
                <a:ext cx="410" cy="294"/>
              </a:xfrm>
              <a:custGeom>
                <a:avLst/>
                <a:gdLst>
                  <a:gd name="T0" fmla="*/ 410 w 410"/>
                  <a:gd name="T1" fmla="*/ 294 h 294"/>
                  <a:gd name="T2" fmla="*/ 0 w 410"/>
                  <a:gd name="T3" fmla="*/ 58 h 294"/>
                  <a:gd name="T4" fmla="*/ 0 w 410"/>
                  <a:gd name="T5" fmla="*/ 0 h 294"/>
                  <a:gd name="T6" fmla="*/ 410 w 410"/>
                  <a:gd name="T7" fmla="*/ 233 h 294"/>
                  <a:gd name="T8" fmla="*/ 410 w 410"/>
                  <a:gd name="T9" fmla="*/ 29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294">
                    <a:moveTo>
                      <a:pt x="410" y="294"/>
                    </a:moveTo>
                    <a:lnTo>
                      <a:pt x="0" y="58"/>
                    </a:lnTo>
                    <a:lnTo>
                      <a:pt x="0" y="0"/>
                    </a:lnTo>
                    <a:lnTo>
                      <a:pt x="410" y="233"/>
                    </a:lnTo>
                    <a:lnTo>
                      <a:pt x="410" y="294"/>
                    </a:lnTo>
                    <a:close/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 128"/>
              <p:cNvSpPr>
                <a:spLocks/>
              </p:cNvSpPr>
              <p:nvPr/>
            </p:nvSpPr>
            <p:spPr bwMode="auto">
              <a:xfrm>
                <a:off x="4532" y="2959"/>
                <a:ext cx="614" cy="417"/>
              </a:xfrm>
              <a:custGeom>
                <a:avLst/>
                <a:gdLst>
                  <a:gd name="T0" fmla="*/ 0 w 614"/>
                  <a:gd name="T1" fmla="*/ 417 h 417"/>
                  <a:gd name="T2" fmla="*/ 0 w 614"/>
                  <a:gd name="T3" fmla="*/ 356 h 417"/>
                  <a:gd name="T4" fmla="*/ 614 w 614"/>
                  <a:gd name="T5" fmla="*/ 0 h 417"/>
                  <a:gd name="T6" fmla="*/ 614 w 614"/>
                  <a:gd name="T7" fmla="*/ 61 h 417"/>
                  <a:gd name="T8" fmla="*/ 571 w 614"/>
                  <a:gd name="T9" fmla="*/ 86 h 417"/>
                  <a:gd name="T10" fmla="*/ 9 w 614"/>
                  <a:gd name="T11" fmla="*/ 413 h 417"/>
                  <a:gd name="T12" fmla="*/ 0 w 614"/>
                  <a:gd name="T13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4" h="417">
                    <a:moveTo>
                      <a:pt x="0" y="417"/>
                    </a:moveTo>
                    <a:lnTo>
                      <a:pt x="0" y="356"/>
                    </a:lnTo>
                    <a:lnTo>
                      <a:pt x="614" y="0"/>
                    </a:lnTo>
                    <a:lnTo>
                      <a:pt x="614" y="61"/>
                    </a:lnTo>
                    <a:lnTo>
                      <a:pt x="571" y="86"/>
                    </a:lnTo>
                    <a:lnTo>
                      <a:pt x="9" y="413"/>
                    </a:lnTo>
                    <a:lnTo>
                      <a:pt x="0" y="417"/>
                    </a:lnTo>
                    <a:close/>
                  </a:path>
                </a:pathLst>
              </a:custGeom>
              <a:solidFill>
                <a:srgbClr val="D16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 129"/>
              <p:cNvSpPr>
                <a:spLocks noEditPoints="1"/>
              </p:cNvSpPr>
              <p:nvPr/>
            </p:nvSpPr>
            <p:spPr bwMode="auto">
              <a:xfrm>
                <a:off x="4011" y="1748"/>
                <a:ext cx="202" cy="180"/>
              </a:xfrm>
              <a:custGeom>
                <a:avLst/>
                <a:gdLst>
                  <a:gd name="T0" fmla="*/ 419 w 419"/>
                  <a:gd name="T1" fmla="*/ 375 h 375"/>
                  <a:gd name="T2" fmla="*/ 346 w 419"/>
                  <a:gd name="T3" fmla="*/ 366 h 375"/>
                  <a:gd name="T4" fmla="*/ 348 w 419"/>
                  <a:gd name="T5" fmla="*/ 238 h 375"/>
                  <a:gd name="T6" fmla="*/ 419 w 419"/>
                  <a:gd name="T7" fmla="*/ 375 h 375"/>
                  <a:gd name="T8" fmla="*/ 55 w 419"/>
                  <a:gd name="T9" fmla="*/ 340 h 375"/>
                  <a:gd name="T10" fmla="*/ 0 w 419"/>
                  <a:gd name="T11" fmla="*/ 337 h 375"/>
                  <a:gd name="T12" fmla="*/ 41 w 419"/>
                  <a:gd name="T13" fmla="*/ 0 h 375"/>
                  <a:gd name="T14" fmla="*/ 52 w 419"/>
                  <a:gd name="T15" fmla="*/ 253 h 375"/>
                  <a:gd name="T16" fmla="*/ 52 w 419"/>
                  <a:gd name="T17" fmla="*/ 253 h 375"/>
                  <a:gd name="T18" fmla="*/ 55 w 419"/>
                  <a:gd name="T19" fmla="*/ 34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9" h="375">
                    <a:moveTo>
                      <a:pt x="419" y="375"/>
                    </a:moveTo>
                    <a:cubicBezTo>
                      <a:pt x="395" y="372"/>
                      <a:pt x="370" y="369"/>
                      <a:pt x="346" y="366"/>
                    </a:cubicBezTo>
                    <a:lnTo>
                      <a:pt x="348" y="238"/>
                    </a:lnTo>
                    <a:lnTo>
                      <a:pt x="419" y="375"/>
                    </a:lnTo>
                    <a:close/>
                    <a:moveTo>
                      <a:pt x="55" y="340"/>
                    </a:moveTo>
                    <a:cubicBezTo>
                      <a:pt x="37" y="339"/>
                      <a:pt x="19" y="338"/>
                      <a:pt x="0" y="337"/>
                    </a:cubicBezTo>
                    <a:lnTo>
                      <a:pt x="41" y="0"/>
                    </a:lnTo>
                    <a:lnTo>
                      <a:pt x="52" y="253"/>
                    </a:lnTo>
                    <a:lnTo>
                      <a:pt x="52" y="253"/>
                    </a:lnTo>
                    <a:lnTo>
                      <a:pt x="55" y="340"/>
                    </a:lnTo>
                  </a:path>
                </a:pathLst>
              </a:custGeom>
              <a:solidFill>
                <a:srgbClr val="F5D5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 130"/>
              <p:cNvSpPr>
                <a:spLocks noEditPoints="1"/>
              </p:cNvSpPr>
              <p:nvPr/>
            </p:nvSpPr>
            <p:spPr bwMode="auto">
              <a:xfrm>
                <a:off x="3959" y="1910"/>
                <a:ext cx="638" cy="822"/>
              </a:xfrm>
              <a:custGeom>
                <a:avLst/>
                <a:gdLst>
                  <a:gd name="T0" fmla="*/ 1104 w 1330"/>
                  <a:gd name="T1" fmla="*/ 1712 h 1712"/>
                  <a:gd name="T2" fmla="*/ 636 w 1330"/>
                  <a:gd name="T3" fmla="*/ 1376 h 1712"/>
                  <a:gd name="T4" fmla="*/ 581 w 1330"/>
                  <a:gd name="T5" fmla="*/ 840 h 1712"/>
                  <a:gd name="T6" fmla="*/ 413 w 1330"/>
                  <a:gd name="T7" fmla="*/ 769 h 1712"/>
                  <a:gd name="T8" fmla="*/ 454 w 1330"/>
                  <a:gd name="T9" fmla="*/ 163 h 1712"/>
                  <a:gd name="T10" fmla="*/ 456 w 1330"/>
                  <a:gd name="T11" fmla="*/ 29 h 1712"/>
                  <a:gd name="T12" fmla="*/ 529 w 1330"/>
                  <a:gd name="T13" fmla="*/ 38 h 1712"/>
                  <a:gd name="T14" fmla="*/ 1330 w 1330"/>
                  <a:gd name="T15" fmla="*/ 1581 h 1712"/>
                  <a:gd name="T16" fmla="*/ 1104 w 1330"/>
                  <a:gd name="T17" fmla="*/ 1712 h 1712"/>
                  <a:gd name="T18" fmla="*/ 182 w 1330"/>
                  <a:gd name="T19" fmla="*/ 726 h 1712"/>
                  <a:gd name="T20" fmla="*/ 90 w 1330"/>
                  <a:gd name="T21" fmla="*/ 723 h 1712"/>
                  <a:gd name="T22" fmla="*/ 0 w 1330"/>
                  <a:gd name="T23" fmla="*/ 726 h 1712"/>
                  <a:gd name="T24" fmla="*/ 83 w 1330"/>
                  <a:gd name="T25" fmla="*/ 224 h 1712"/>
                  <a:gd name="T26" fmla="*/ 110 w 1330"/>
                  <a:gd name="T27" fmla="*/ 0 h 1712"/>
                  <a:gd name="T28" fmla="*/ 165 w 1330"/>
                  <a:gd name="T29" fmla="*/ 3 h 1712"/>
                  <a:gd name="T30" fmla="*/ 174 w 1330"/>
                  <a:gd name="T31" fmla="*/ 203 h 1712"/>
                  <a:gd name="T32" fmla="*/ 182 w 1330"/>
                  <a:gd name="T33" fmla="*/ 726 h 1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30" h="1712">
                    <a:moveTo>
                      <a:pt x="1104" y="1712"/>
                    </a:moveTo>
                    <a:lnTo>
                      <a:pt x="636" y="1376"/>
                    </a:lnTo>
                    <a:cubicBezTo>
                      <a:pt x="853" y="1218"/>
                      <a:pt x="835" y="987"/>
                      <a:pt x="581" y="840"/>
                    </a:cubicBezTo>
                    <a:cubicBezTo>
                      <a:pt x="530" y="811"/>
                      <a:pt x="474" y="787"/>
                      <a:pt x="413" y="769"/>
                    </a:cubicBezTo>
                    <a:lnTo>
                      <a:pt x="454" y="163"/>
                    </a:lnTo>
                    <a:lnTo>
                      <a:pt x="456" y="29"/>
                    </a:lnTo>
                    <a:cubicBezTo>
                      <a:pt x="480" y="32"/>
                      <a:pt x="505" y="35"/>
                      <a:pt x="529" y="38"/>
                    </a:cubicBezTo>
                    <a:lnTo>
                      <a:pt x="1330" y="1581"/>
                    </a:lnTo>
                    <a:lnTo>
                      <a:pt x="1104" y="1712"/>
                    </a:lnTo>
                    <a:moveTo>
                      <a:pt x="182" y="726"/>
                    </a:moveTo>
                    <a:cubicBezTo>
                      <a:pt x="151" y="724"/>
                      <a:pt x="121" y="723"/>
                      <a:pt x="90" y="723"/>
                    </a:cubicBezTo>
                    <a:cubicBezTo>
                      <a:pt x="60" y="723"/>
                      <a:pt x="30" y="724"/>
                      <a:pt x="0" y="726"/>
                    </a:cubicBezTo>
                    <a:lnTo>
                      <a:pt x="83" y="224"/>
                    </a:lnTo>
                    <a:lnTo>
                      <a:pt x="110" y="0"/>
                    </a:lnTo>
                    <a:cubicBezTo>
                      <a:pt x="129" y="1"/>
                      <a:pt x="147" y="2"/>
                      <a:pt x="165" y="3"/>
                    </a:cubicBezTo>
                    <a:lnTo>
                      <a:pt x="174" y="203"/>
                    </a:lnTo>
                    <a:cubicBezTo>
                      <a:pt x="153" y="319"/>
                      <a:pt x="154" y="481"/>
                      <a:pt x="182" y="726"/>
                    </a:cubicBez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 131"/>
              <p:cNvSpPr>
                <a:spLocks noEditPoints="1"/>
              </p:cNvSpPr>
              <p:nvPr/>
            </p:nvSpPr>
            <p:spPr bwMode="auto">
              <a:xfrm>
                <a:off x="3945" y="2257"/>
                <a:ext cx="423" cy="313"/>
              </a:xfrm>
              <a:custGeom>
                <a:avLst/>
                <a:gdLst>
                  <a:gd name="T0" fmla="*/ 0 w 882"/>
                  <a:gd name="T1" fmla="*/ 176 h 653"/>
                  <a:gd name="T2" fmla="*/ 119 w 882"/>
                  <a:gd name="T3" fmla="*/ 0 h 653"/>
                  <a:gd name="T4" fmla="*/ 230 w 882"/>
                  <a:gd name="T5" fmla="*/ 155 h 653"/>
                  <a:gd name="T6" fmla="*/ 231 w 882"/>
                  <a:gd name="T7" fmla="*/ 291 h 653"/>
                  <a:gd name="T8" fmla="*/ 231 w 882"/>
                  <a:gd name="T9" fmla="*/ 291 h 653"/>
                  <a:gd name="T10" fmla="*/ 329 w 882"/>
                  <a:gd name="T11" fmla="*/ 321 h 653"/>
                  <a:gd name="T12" fmla="*/ 342 w 882"/>
                  <a:gd name="T13" fmla="*/ 321 h 653"/>
                  <a:gd name="T14" fmla="*/ 565 w 882"/>
                  <a:gd name="T15" fmla="*/ 402 h 653"/>
                  <a:gd name="T16" fmla="*/ 668 w 882"/>
                  <a:gd name="T17" fmla="*/ 364 h 653"/>
                  <a:gd name="T18" fmla="*/ 674 w 882"/>
                  <a:gd name="T19" fmla="*/ 323 h 653"/>
                  <a:gd name="T20" fmla="*/ 668 w 882"/>
                  <a:gd name="T21" fmla="*/ 342 h 653"/>
                  <a:gd name="T22" fmla="*/ 668 w 882"/>
                  <a:gd name="T23" fmla="*/ 342 h 653"/>
                  <a:gd name="T24" fmla="*/ 674 w 882"/>
                  <a:gd name="T25" fmla="*/ 323 h 653"/>
                  <a:gd name="T26" fmla="*/ 428 w 882"/>
                  <a:gd name="T27" fmla="*/ 146 h 653"/>
                  <a:gd name="T28" fmla="*/ 442 w 882"/>
                  <a:gd name="T29" fmla="*/ 46 h 653"/>
                  <a:gd name="T30" fmla="*/ 665 w 882"/>
                  <a:gd name="T31" fmla="*/ 653 h 653"/>
                  <a:gd name="T32" fmla="*/ 570 w 882"/>
                  <a:gd name="T33" fmla="*/ 379 h 653"/>
                  <a:gd name="T34" fmla="*/ 570 w 882"/>
                  <a:gd name="T35" fmla="*/ 379 h 653"/>
                  <a:gd name="T36" fmla="*/ 666 w 882"/>
                  <a:gd name="T37" fmla="*/ 344 h 653"/>
                  <a:gd name="T38" fmla="*/ 565 w 882"/>
                  <a:gd name="T39" fmla="*/ 379 h 653"/>
                  <a:gd name="T40" fmla="*/ 456 w 882"/>
                  <a:gd name="T41" fmla="*/ 352 h 653"/>
                  <a:gd name="T42" fmla="*/ 456 w 882"/>
                  <a:gd name="T43" fmla="*/ 352 h 653"/>
                  <a:gd name="T44" fmla="*/ 565 w 882"/>
                  <a:gd name="T45" fmla="*/ 379 h 653"/>
                  <a:gd name="T46" fmla="*/ 454 w 882"/>
                  <a:gd name="T47" fmla="*/ 351 h 653"/>
                  <a:gd name="T48" fmla="*/ 453 w 882"/>
                  <a:gd name="T49" fmla="*/ 351 h 653"/>
                  <a:gd name="T50" fmla="*/ 453 w 882"/>
                  <a:gd name="T51" fmla="*/ 351 h 653"/>
                  <a:gd name="T52" fmla="*/ 666 w 882"/>
                  <a:gd name="T53" fmla="*/ 343 h 653"/>
                  <a:gd name="T54" fmla="*/ 333 w 882"/>
                  <a:gd name="T55" fmla="*/ 298 h 653"/>
                  <a:gd name="T56" fmla="*/ 333 w 882"/>
                  <a:gd name="T57" fmla="*/ 298 h 653"/>
                  <a:gd name="T58" fmla="*/ 333 w 882"/>
                  <a:gd name="T59" fmla="*/ 298 h 653"/>
                  <a:gd name="T60" fmla="*/ 342 w 882"/>
                  <a:gd name="T61" fmla="*/ 298 h 653"/>
                  <a:gd name="T62" fmla="*/ 333 w 882"/>
                  <a:gd name="T63" fmla="*/ 298 h 653"/>
                  <a:gd name="T64" fmla="*/ 342 w 882"/>
                  <a:gd name="T65" fmla="*/ 298 h 653"/>
                  <a:gd name="T66" fmla="*/ 342 w 882"/>
                  <a:gd name="T67" fmla="*/ 298 h 653"/>
                  <a:gd name="T68" fmla="*/ 242 w 882"/>
                  <a:gd name="T69" fmla="*/ 292 h 653"/>
                  <a:gd name="T70" fmla="*/ 238 w 882"/>
                  <a:gd name="T71" fmla="*/ 292 h 653"/>
                  <a:gd name="T72" fmla="*/ 238 w 882"/>
                  <a:gd name="T73" fmla="*/ 292 h 653"/>
                  <a:gd name="T74" fmla="*/ 233 w 882"/>
                  <a:gd name="T75" fmla="*/ 291 h 653"/>
                  <a:gd name="T76" fmla="*/ 232 w 882"/>
                  <a:gd name="T77" fmla="*/ 291 h 653"/>
                  <a:gd name="T78" fmla="*/ 232 w 882"/>
                  <a:gd name="T79" fmla="*/ 291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2" h="653">
                    <a:moveTo>
                      <a:pt x="665" y="653"/>
                    </a:moveTo>
                    <a:lnTo>
                      <a:pt x="0" y="176"/>
                    </a:lnTo>
                    <a:lnTo>
                      <a:pt x="29" y="3"/>
                    </a:lnTo>
                    <a:cubicBezTo>
                      <a:pt x="59" y="1"/>
                      <a:pt x="89" y="0"/>
                      <a:pt x="119" y="0"/>
                    </a:cubicBezTo>
                    <a:cubicBezTo>
                      <a:pt x="150" y="0"/>
                      <a:pt x="180" y="1"/>
                      <a:pt x="211" y="3"/>
                    </a:cubicBezTo>
                    <a:cubicBezTo>
                      <a:pt x="216" y="50"/>
                      <a:pt x="222" y="101"/>
                      <a:pt x="230" y="155"/>
                    </a:cubicBezTo>
                    <a:cubicBezTo>
                      <a:pt x="230" y="155"/>
                      <a:pt x="234" y="158"/>
                      <a:pt x="242" y="161"/>
                    </a:cubicBezTo>
                    <a:cubicBezTo>
                      <a:pt x="236" y="188"/>
                      <a:pt x="228" y="239"/>
                      <a:pt x="231" y="291"/>
                    </a:cubicBezTo>
                    <a:cubicBezTo>
                      <a:pt x="231" y="291"/>
                      <a:pt x="231" y="291"/>
                      <a:pt x="231" y="291"/>
                    </a:cubicBezTo>
                    <a:cubicBezTo>
                      <a:pt x="231" y="291"/>
                      <a:pt x="231" y="291"/>
                      <a:pt x="231" y="291"/>
                    </a:cubicBezTo>
                    <a:cubicBezTo>
                      <a:pt x="231" y="299"/>
                      <a:pt x="231" y="307"/>
                      <a:pt x="232" y="314"/>
                    </a:cubicBezTo>
                    <a:cubicBezTo>
                      <a:pt x="265" y="318"/>
                      <a:pt x="295" y="321"/>
                      <a:pt x="329" y="321"/>
                    </a:cubicBezTo>
                    <a:cubicBezTo>
                      <a:pt x="333" y="321"/>
                      <a:pt x="337" y="321"/>
                      <a:pt x="341" y="321"/>
                    </a:cubicBezTo>
                    <a:cubicBezTo>
                      <a:pt x="341" y="321"/>
                      <a:pt x="341" y="321"/>
                      <a:pt x="342" y="321"/>
                    </a:cubicBezTo>
                    <a:cubicBezTo>
                      <a:pt x="379" y="321"/>
                      <a:pt x="422" y="360"/>
                      <a:pt x="456" y="374"/>
                    </a:cubicBezTo>
                    <a:cubicBezTo>
                      <a:pt x="491" y="388"/>
                      <a:pt x="528" y="401"/>
                      <a:pt x="565" y="402"/>
                    </a:cubicBezTo>
                    <a:cubicBezTo>
                      <a:pt x="567" y="402"/>
                      <a:pt x="568" y="402"/>
                      <a:pt x="570" y="402"/>
                    </a:cubicBezTo>
                    <a:cubicBezTo>
                      <a:pt x="606" y="402"/>
                      <a:pt x="643" y="390"/>
                      <a:pt x="668" y="364"/>
                    </a:cubicBezTo>
                    <a:cubicBezTo>
                      <a:pt x="668" y="364"/>
                      <a:pt x="672" y="357"/>
                      <a:pt x="674" y="346"/>
                    </a:cubicBezTo>
                    <a:cubicBezTo>
                      <a:pt x="676" y="338"/>
                      <a:pt x="676" y="330"/>
                      <a:pt x="674" y="323"/>
                    </a:cubicBezTo>
                    <a:lnTo>
                      <a:pt x="674" y="324"/>
                    </a:lnTo>
                    <a:cubicBezTo>
                      <a:pt x="672" y="335"/>
                      <a:pt x="668" y="342"/>
                      <a:pt x="668" y="342"/>
                    </a:cubicBezTo>
                    <a:lnTo>
                      <a:pt x="668" y="342"/>
                    </a:lnTo>
                    <a:lnTo>
                      <a:pt x="668" y="342"/>
                    </a:lnTo>
                    <a:cubicBezTo>
                      <a:pt x="668" y="342"/>
                      <a:pt x="672" y="335"/>
                      <a:pt x="674" y="324"/>
                    </a:cubicBezTo>
                    <a:lnTo>
                      <a:pt x="674" y="323"/>
                    </a:lnTo>
                    <a:cubicBezTo>
                      <a:pt x="670" y="301"/>
                      <a:pt x="653" y="283"/>
                      <a:pt x="631" y="276"/>
                    </a:cubicBezTo>
                    <a:cubicBezTo>
                      <a:pt x="564" y="257"/>
                      <a:pt x="477" y="207"/>
                      <a:pt x="428" y="146"/>
                    </a:cubicBezTo>
                    <a:cubicBezTo>
                      <a:pt x="431" y="144"/>
                      <a:pt x="433" y="142"/>
                      <a:pt x="436" y="141"/>
                    </a:cubicBezTo>
                    <a:lnTo>
                      <a:pt x="442" y="46"/>
                    </a:lnTo>
                    <a:cubicBezTo>
                      <a:pt x="503" y="64"/>
                      <a:pt x="559" y="88"/>
                      <a:pt x="610" y="117"/>
                    </a:cubicBezTo>
                    <a:cubicBezTo>
                      <a:pt x="864" y="264"/>
                      <a:pt x="882" y="495"/>
                      <a:pt x="665" y="653"/>
                    </a:cubicBezTo>
                    <a:moveTo>
                      <a:pt x="570" y="379"/>
                    </a:moveTo>
                    <a:lnTo>
                      <a:pt x="570" y="379"/>
                    </a:lnTo>
                    <a:lnTo>
                      <a:pt x="570" y="379"/>
                    </a:lnTo>
                    <a:lnTo>
                      <a:pt x="570" y="379"/>
                    </a:lnTo>
                    <a:close/>
                    <a:moveTo>
                      <a:pt x="570" y="379"/>
                    </a:moveTo>
                    <a:cubicBezTo>
                      <a:pt x="605" y="379"/>
                      <a:pt x="641" y="368"/>
                      <a:pt x="666" y="344"/>
                    </a:cubicBezTo>
                    <a:cubicBezTo>
                      <a:pt x="641" y="368"/>
                      <a:pt x="605" y="379"/>
                      <a:pt x="570" y="379"/>
                    </a:cubicBezTo>
                    <a:close/>
                    <a:moveTo>
                      <a:pt x="565" y="379"/>
                    </a:moveTo>
                    <a:lnTo>
                      <a:pt x="565" y="379"/>
                    </a:lnTo>
                    <a:cubicBezTo>
                      <a:pt x="528" y="378"/>
                      <a:pt x="491" y="366"/>
                      <a:pt x="456" y="352"/>
                    </a:cubicBezTo>
                    <a:cubicBezTo>
                      <a:pt x="456" y="352"/>
                      <a:pt x="456" y="352"/>
                      <a:pt x="456" y="351"/>
                    </a:cubicBezTo>
                    <a:cubicBezTo>
                      <a:pt x="456" y="352"/>
                      <a:pt x="456" y="352"/>
                      <a:pt x="456" y="352"/>
                    </a:cubicBezTo>
                    <a:cubicBezTo>
                      <a:pt x="491" y="366"/>
                      <a:pt x="528" y="378"/>
                      <a:pt x="565" y="379"/>
                    </a:cubicBezTo>
                    <a:lnTo>
                      <a:pt x="565" y="379"/>
                    </a:lnTo>
                    <a:close/>
                    <a:moveTo>
                      <a:pt x="455" y="351"/>
                    </a:moveTo>
                    <a:cubicBezTo>
                      <a:pt x="455" y="351"/>
                      <a:pt x="454" y="351"/>
                      <a:pt x="454" y="351"/>
                    </a:cubicBezTo>
                    <a:cubicBezTo>
                      <a:pt x="454" y="351"/>
                      <a:pt x="455" y="351"/>
                      <a:pt x="455" y="351"/>
                    </a:cubicBezTo>
                    <a:close/>
                    <a:moveTo>
                      <a:pt x="453" y="351"/>
                    </a:moveTo>
                    <a:cubicBezTo>
                      <a:pt x="444" y="346"/>
                      <a:pt x="433" y="340"/>
                      <a:pt x="423" y="333"/>
                    </a:cubicBezTo>
                    <a:cubicBezTo>
                      <a:pt x="433" y="340"/>
                      <a:pt x="444" y="346"/>
                      <a:pt x="453" y="351"/>
                    </a:cubicBezTo>
                    <a:close/>
                    <a:moveTo>
                      <a:pt x="666" y="343"/>
                    </a:moveTo>
                    <a:cubicBezTo>
                      <a:pt x="666" y="343"/>
                      <a:pt x="666" y="343"/>
                      <a:pt x="666" y="343"/>
                    </a:cubicBezTo>
                    <a:cubicBezTo>
                      <a:pt x="666" y="343"/>
                      <a:pt x="666" y="343"/>
                      <a:pt x="666" y="343"/>
                    </a:cubicBezTo>
                    <a:close/>
                    <a:moveTo>
                      <a:pt x="333" y="298"/>
                    </a:moveTo>
                    <a:lnTo>
                      <a:pt x="333" y="298"/>
                    </a:lnTo>
                    <a:lnTo>
                      <a:pt x="333" y="298"/>
                    </a:lnTo>
                    <a:lnTo>
                      <a:pt x="333" y="298"/>
                    </a:lnTo>
                    <a:close/>
                    <a:moveTo>
                      <a:pt x="333" y="298"/>
                    </a:moveTo>
                    <a:cubicBezTo>
                      <a:pt x="336" y="298"/>
                      <a:pt x="338" y="298"/>
                      <a:pt x="341" y="298"/>
                    </a:cubicBezTo>
                    <a:cubicBezTo>
                      <a:pt x="341" y="298"/>
                      <a:pt x="341" y="298"/>
                      <a:pt x="342" y="298"/>
                    </a:cubicBezTo>
                    <a:cubicBezTo>
                      <a:pt x="341" y="298"/>
                      <a:pt x="341" y="298"/>
                      <a:pt x="341" y="298"/>
                    </a:cubicBezTo>
                    <a:cubicBezTo>
                      <a:pt x="338" y="298"/>
                      <a:pt x="336" y="298"/>
                      <a:pt x="333" y="298"/>
                    </a:cubicBezTo>
                    <a:close/>
                    <a:moveTo>
                      <a:pt x="342" y="298"/>
                    </a:moveTo>
                    <a:lnTo>
                      <a:pt x="342" y="298"/>
                    </a:lnTo>
                    <a:lnTo>
                      <a:pt x="342" y="298"/>
                    </a:lnTo>
                    <a:lnTo>
                      <a:pt x="342" y="298"/>
                    </a:lnTo>
                    <a:close/>
                    <a:moveTo>
                      <a:pt x="243" y="292"/>
                    </a:moveTo>
                    <a:cubicBezTo>
                      <a:pt x="242" y="292"/>
                      <a:pt x="242" y="292"/>
                      <a:pt x="242" y="292"/>
                    </a:cubicBezTo>
                    <a:cubicBezTo>
                      <a:pt x="242" y="292"/>
                      <a:pt x="242" y="292"/>
                      <a:pt x="243" y="292"/>
                    </a:cubicBezTo>
                    <a:close/>
                    <a:moveTo>
                      <a:pt x="238" y="292"/>
                    </a:moveTo>
                    <a:cubicBezTo>
                      <a:pt x="238" y="292"/>
                      <a:pt x="237" y="292"/>
                      <a:pt x="237" y="292"/>
                    </a:cubicBezTo>
                    <a:cubicBezTo>
                      <a:pt x="237" y="292"/>
                      <a:pt x="238" y="292"/>
                      <a:pt x="238" y="292"/>
                    </a:cubicBezTo>
                    <a:close/>
                    <a:moveTo>
                      <a:pt x="233" y="291"/>
                    </a:moveTo>
                    <a:cubicBezTo>
                      <a:pt x="233" y="291"/>
                      <a:pt x="233" y="291"/>
                      <a:pt x="233" y="291"/>
                    </a:cubicBezTo>
                    <a:cubicBezTo>
                      <a:pt x="233" y="291"/>
                      <a:pt x="233" y="291"/>
                      <a:pt x="233" y="291"/>
                    </a:cubicBezTo>
                    <a:close/>
                    <a:moveTo>
                      <a:pt x="232" y="291"/>
                    </a:moveTo>
                    <a:cubicBezTo>
                      <a:pt x="232" y="291"/>
                      <a:pt x="232" y="291"/>
                      <a:pt x="232" y="291"/>
                    </a:cubicBezTo>
                    <a:cubicBezTo>
                      <a:pt x="232" y="291"/>
                      <a:pt x="232" y="291"/>
                      <a:pt x="232" y="291"/>
                    </a:cubicBezTo>
                    <a:close/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 132"/>
              <p:cNvSpPr>
                <a:spLocks/>
              </p:cNvSpPr>
              <p:nvPr/>
            </p:nvSpPr>
            <p:spPr bwMode="auto">
              <a:xfrm>
                <a:off x="4054" y="2327"/>
                <a:ext cx="214" cy="112"/>
              </a:xfrm>
              <a:custGeom>
                <a:avLst/>
                <a:gdLst>
                  <a:gd name="T0" fmla="*/ 342 w 446"/>
                  <a:gd name="T1" fmla="*/ 233 h 233"/>
                  <a:gd name="T2" fmla="*/ 342 w 446"/>
                  <a:gd name="T3" fmla="*/ 233 h 233"/>
                  <a:gd name="T4" fmla="*/ 337 w 446"/>
                  <a:gd name="T5" fmla="*/ 233 h 233"/>
                  <a:gd name="T6" fmla="*/ 337 w 446"/>
                  <a:gd name="T7" fmla="*/ 233 h 233"/>
                  <a:gd name="T8" fmla="*/ 228 w 446"/>
                  <a:gd name="T9" fmla="*/ 206 h 233"/>
                  <a:gd name="T10" fmla="*/ 228 w 446"/>
                  <a:gd name="T11" fmla="*/ 205 h 233"/>
                  <a:gd name="T12" fmla="*/ 227 w 446"/>
                  <a:gd name="T13" fmla="*/ 205 h 233"/>
                  <a:gd name="T14" fmla="*/ 226 w 446"/>
                  <a:gd name="T15" fmla="*/ 205 h 233"/>
                  <a:gd name="T16" fmla="*/ 225 w 446"/>
                  <a:gd name="T17" fmla="*/ 205 h 233"/>
                  <a:gd name="T18" fmla="*/ 195 w 446"/>
                  <a:gd name="T19" fmla="*/ 187 h 233"/>
                  <a:gd name="T20" fmla="*/ 114 w 446"/>
                  <a:gd name="T21" fmla="*/ 152 h 233"/>
                  <a:gd name="T22" fmla="*/ 114 w 446"/>
                  <a:gd name="T23" fmla="*/ 152 h 233"/>
                  <a:gd name="T24" fmla="*/ 114 w 446"/>
                  <a:gd name="T25" fmla="*/ 152 h 233"/>
                  <a:gd name="T26" fmla="*/ 114 w 446"/>
                  <a:gd name="T27" fmla="*/ 152 h 233"/>
                  <a:gd name="T28" fmla="*/ 114 w 446"/>
                  <a:gd name="T29" fmla="*/ 152 h 233"/>
                  <a:gd name="T30" fmla="*/ 113 w 446"/>
                  <a:gd name="T31" fmla="*/ 152 h 233"/>
                  <a:gd name="T32" fmla="*/ 105 w 446"/>
                  <a:gd name="T33" fmla="*/ 152 h 233"/>
                  <a:gd name="T34" fmla="*/ 105 w 446"/>
                  <a:gd name="T35" fmla="*/ 152 h 233"/>
                  <a:gd name="T36" fmla="*/ 105 w 446"/>
                  <a:gd name="T37" fmla="*/ 152 h 233"/>
                  <a:gd name="T38" fmla="*/ 15 w 446"/>
                  <a:gd name="T39" fmla="*/ 146 h 233"/>
                  <a:gd name="T40" fmla="*/ 14 w 446"/>
                  <a:gd name="T41" fmla="*/ 146 h 233"/>
                  <a:gd name="T42" fmla="*/ 10 w 446"/>
                  <a:gd name="T43" fmla="*/ 146 h 233"/>
                  <a:gd name="T44" fmla="*/ 9 w 446"/>
                  <a:gd name="T45" fmla="*/ 146 h 233"/>
                  <a:gd name="T46" fmla="*/ 5 w 446"/>
                  <a:gd name="T47" fmla="*/ 145 h 233"/>
                  <a:gd name="T48" fmla="*/ 5 w 446"/>
                  <a:gd name="T49" fmla="*/ 145 h 233"/>
                  <a:gd name="T50" fmla="*/ 4 w 446"/>
                  <a:gd name="T51" fmla="*/ 145 h 233"/>
                  <a:gd name="T52" fmla="*/ 4 w 446"/>
                  <a:gd name="T53" fmla="*/ 145 h 233"/>
                  <a:gd name="T54" fmla="*/ 3 w 446"/>
                  <a:gd name="T55" fmla="*/ 145 h 233"/>
                  <a:gd name="T56" fmla="*/ 3 w 446"/>
                  <a:gd name="T57" fmla="*/ 145 h 233"/>
                  <a:gd name="T58" fmla="*/ 14 w 446"/>
                  <a:gd name="T59" fmla="*/ 15 h 233"/>
                  <a:gd name="T60" fmla="*/ 89 w 446"/>
                  <a:gd name="T61" fmla="*/ 32 h 233"/>
                  <a:gd name="T62" fmla="*/ 200 w 446"/>
                  <a:gd name="T63" fmla="*/ 0 h 233"/>
                  <a:gd name="T64" fmla="*/ 403 w 446"/>
                  <a:gd name="T65" fmla="*/ 130 h 233"/>
                  <a:gd name="T66" fmla="*/ 446 w 446"/>
                  <a:gd name="T67" fmla="*/ 177 h 233"/>
                  <a:gd name="T68" fmla="*/ 446 w 446"/>
                  <a:gd name="T69" fmla="*/ 178 h 233"/>
                  <a:gd name="T70" fmla="*/ 440 w 446"/>
                  <a:gd name="T71" fmla="*/ 196 h 233"/>
                  <a:gd name="T72" fmla="*/ 440 w 446"/>
                  <a:gd name="T73" fmla="*/ 196 h 233"/>
                  <a:gd name="T74" fmla="*/ 438 w 446"/>
                  <a:gd name="T75" fmla="*/ 197 h 233"/>
                  <a:gd name="T76" fmla="*/ 438 w 446"/>
                  <a:gd name="T77" fmla="*/ 197 h 233"/>
                  <a:gd name="T78" fmla="*/ 438 w 446"/>
                  <a:gd name="T79" fmla="*/ 198 h 233"/>
                  <a:gd name="T80" fmla="*/ 342 w 446"/>
                  <a:gd name="T81" fmla="*/ 233 h 233"/>
                  <a:gd name="T82" fmla="*/ 342 w 446"/>
                  <a:gd name="T8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46" h="233">
                    <a:moveTo>
                      <a:pt x="342" y="233"/>
                    </a:moveTo>
                    <a:lnTo>
                      <a:pt x="342" y="233"/>
                    </a:lnTo>
                    <a:cubicBezTo>
                      <a:pt x="340" y="233"/>
                      <a:pt x="339" y="233"/>
                      <a:pt x="337" y="233"/>
                    </a:cubicBezTo>
                    <a:lnTo>
                      <a:pt x="337" y="233"/>
                    </a:lnTo>
                    <a:cubicBezTo>
                      <a:pt x="300" y="232"/>
                      <a:pt x="263" y="220"/>
                      <a:pt x="228" y="206"/>
                    </a:cubicBezTo>
                    <a:cubicBezTo>
                      <a:pt x="228" y="206"/>
                      <a:pt x="228" y="206"/>
                      <a:pt x="228" y="205"/>
                    </a:cubicBezTo>
                    <a:cubicBezTo>
                      <a:pt x="227" y="205"/>
                      <a:pt x="227" y="205"/>
                      <a:pt x="227" y="205"/>
                    </a:cubicBezTo>
                    <a:cubicBezTo>
                      <a:pt x="227" y="205"/>
                      <a:pt x="226" y="205"/>
                      <a:pt x="226" y="205"/>
                    </a:cubicBezTo>
                    <a:cubicBezTo>
                      <a:pt x="226" y="205"/>
                      <a:pt x="225" y="205"/>
                      <a:pt x="225" y="205"/>
                    </a:cubicBezTo>
                    <a:cubicBezTo>
                      <a:pt x="216" y="200"/>
                      <a:pt x="205" y="194"/>
                      <a:pt x="195" y="187"/>
                    </a:cubicBezTo>
                    <a:cubicBezTo>
                      <a:pt x="168" y="171"/>
                      <a:pt x="140" y="152"/>
                      <a:pt x="114" y="152"/>
                    </a:cubicBezTo>
                    <a:lnTo>
                      <a:pt x="114" y="152"/>
                    </a:lnTo>
                    <a:lnTo>
                      <a:pt x="114" y="152"/>
                    </a:lnTo>
                    <a:lnTo>
                      <a:pt x="114" y="152"/>
                    </a:lnTo>
                    <a:lnTo>
                      <a:pt x="114" y="152"/>
                    </a:lnTo>
                    <a:cubicBezTo>
                      <a:pt x="113" y="152"/>
                      <a:pt x="113" y="152"/>
                      <a:pt x="113" y="152"/>
                    </a:cubicBezTo>
                    <a:cubicBezTo>
                      <a:pt x="110" y="152"/>
                      <a:pt x="108" y="152"/>
                      <a:pt x="105" y="152"/>
                    </a:cubicBezTo>
                    <a:lnTo>
                      <a:pt x="105" y="152"/>
                    </a:lnTo>
                    <a:lnTo>
                      <a:pt x="105" y="152"/>
                    </a:lnTo>
                    <a:cubicBezTo>
                      <a:pt x="76" y="152"/>
                      <a:pt x="44" y="149"/>
                      <a:pt x="15" y="146"/>
                    </a:cubicBezTo>
                    <a:cubicBezTo>
                      <a:pt x="14" y="146"/>
                      <a:pt x="14" y="146"/>
                      <a:pt x="14" y="146"/>
                    </a:cubicBezTo>
                    <a:cubicBezTo>
                      <a:pt x="12" y="146"/>
                      <a:pt x="11" y="146"/>
                      <a:pt x="10" y="146"/>
                    </a:cubicBezTo>
                    <a:cubicBezTo>
                      <a:pt x="10" y="146"/>
                      <a:pt x="9" y="146"/>
                      <a:pt x="9" y="146"/>
                    </a:cubicBezTo>
                    <a:cubicBezTo>
                      <a:pt x="8" y="145"/>
                      <a:pt x="6" y="145"/>
                      <a:pt x="5" y="145"/>
                    </a:cubicBezTo>
                    <a:cubicBezTo>
                      <a:pt x="5" y="145"/>
                      <a:pt x="5" y="145"/>
                      <a:pt x="5" y="145"/>
                    </a:cubicBezTo>
                    <a:cubicBezTo>
                      <a:pt x="4" y="145"/>
                      <a:pt x="4" y="145"/>
                      <a:pt x="4" y="145"/>
                    </a:cubicBezTo>
                    <a:cubicBezTo>
                      <a:pt x="4" y="145"/>
                      <a:pt x="4" y="145"/>
                      <a:pt x="4" y="145"/>
                    </a:cubicBezTo>
                    <a:cubicBezTo>
                      <a:pt x="3" y="145"/>
                      <a:pt x="3" y="145"/>
                      <a:pt x="3" y="145"/>
                    </a:cubicBezTo>
                    <a:cubicBezTo>
                      <a:pt x="3" y="145"/>
                      <a:pt x="3" y="145"/>
                      <a:pt x="3" y="145"/>
                    </a:cubicBezTo>
                    <a:cubicBezTo>
                      <a:pt x="0" y="93"/>
                      <a:pt x="8" y="42"/>
                      <a:pt x="14" y="15"/>
                    </a:cubicBezTo>
                    <a:cubicBezTo>
                      <a:pt x="28" y="22"/>
                      <a:pt x="54" y="32"/>
                      <a:pt x="89" y="32"/>
                    </a:cubicBezTo>
                    <a:cubicBezTo>
                      <a:pt x="120" y="32"/>
                      <a:pt x="158" y="24"/>
                      <a:pt x="200" y="0"/>
                    </a:cubicBezTo>
                    <a:cubicBezTo>
                      <a:pt x="249" y="61"/>
                      <a:pt x="336" y="111"/>
                      <a:pt x="403" y="130"/>
                    </a:cubicBezTo>
                    <a:cubicBezTo>
                      <a:pt x="425" y="137"/>
                      <a:pt x="442" y="155"/>
                      <a:pt x="446" y="177"/>
                    </a:cubicBezTo>
                    <a:lnTo>
                      <a:pt x="446" y="178"/>
                    </a:lnTo>
                    <a:cubicBezTo>
                      <a:pt x="444" y="189"/>
                      <a:pt x="440" y="196"/>
                      <a:pt x="440" y="196"/>
                    </a:cubicBezTo>
                    <a:lnTo>
                      <a:pt x="440" y="196"/>
                    </a:lnTo>
                    <a:cubicBezTo>
                      <a:pt x="439" y="196"/>
                      <a:pt x="439" y="197"/>
                      <a:pt x="438" y="197"/>
                    </a:cubicBezTo>
                    <a:cubicBezTo>
                      <a:pt x="438" y="197"/>
                      <a:pt x="438" y="197"/>
                      <a:pt x="438" y="197"/>
                    </a:cubicBezTo>
                    <a:lnTo>
                      <a:pt x="438" y="198"/>
                    </a:lnTo>
                    <a:cubicBezTo>
                      <a:pt x="413" y="222"/>
                      <a:pt x="377" y="233"/>
                      <a:pt x="342" y="233"/>
                    </a:cubicBezTo>
                    <a:lnTo>
                      <a:pt x="342" y="233"/>
                    </a:ln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 133"/>
              <p:cNvSpPr>
                <a:spLocks/>
              </p:cNvSpPr>
              <p:nvPr/>
            </p:nvSpPr>
            <p:spPr bwMode="auto">
              <a:xfrm>
                <a:off x="4056" y="2396"/>
                <a:ext cx="213" cy="54"/>
              </a:xfrm>
              <a:custGeom>
                <a:avLst/>
                <a:gdLst>
                  <a:gd name="T0" fmla="*/ 339 w 445"/>
                  <a:gd name="T1" fmla="*/ 111 h 111"/>
                  <a:gd name="T2" fmla="*/ 334 w 445"/>
                  <a:gd name="T3" fmla="*/ 111 h 111"/>
                  <a:gd name="T4" fmla="*/ 225 w 445"/>
                  <a:gd name="T5" fmla="*/ 83 h 111"/>
                  <a:gd name="T6" fmla="*/ 111 w 445"/>
                  <a:gd name="T7" fmla="*/ 30 h 111"/>
                  <a:gd name="T8" fmla="*/ 110 w 445"/>
                  <a:gd name="T9" fmla="*/ 30 h 111"/>
                  <a:gd name="T10" fmla="*/ 98 w 445"/>
                  <a:gd name="T11" fmla="*/ 30 h 111"/>
                  <a:gd name="T12" fmla="*/ 1 w 445"/>
                  <a:gd name="T13" fmla="*/ 23 h 111"/>
                  <a:gd name="T14" fmla="*/ 0 w 445"/>
                  <a:gd name="T15" fmla="*/ 0 h 111"/>
                  <a:gd name="T16" fmla="*/ 0 w 445"/>
                  <a:gd name="T17" fmla="*/ 0 h 111"/>
                  <a:gd name="T18" fmla="*/ 1 w 445"/>
                  <a:gd name="T19" fmla="*/ 0 h 111"/>
                  <a:gd name="T20" fmla="*/ 1 w 445"/>
                  <a:gd name="T21" fmla="*/ 0 h 111"/>
                  <a:gd name="T22" fmla="*/ 2 w 445"/>
                  <a:gd name="T23" fmla="*/ 0 h 111"/>
                  <a:gd name="T24" fmla="*/ 2 w 445"/>
                  <a:gd name="T25" fmla="*/ 0 h 111"/>
                  <a:gd name="T26" fmla="*/ 6 w 445"/>
                  <a:gd name="T27" fmla="*/ 1 h 111"/>
                  <a:gd name="T28" fmla="*/ 7 w 445"/>
                  <a:gd name="T29" fmla="*/ 1 h 111"/>
                  <a:gd name="T30" fmla="*/ 11 w 445"/>
                  <a:gd name="T31" fmla="*/ 1 h 111"/>
                  <a:gd name="T32" fmla="*/ 12 w 445"/>
                  <a:gd name="T33" fmla="*/ 1 h 111"/>
                  <a:gd name="T34" fmla="*/ 102 w 445"/>
                  <a:gd name="T35" fmla="*/ 7 h 111"/>
                  <a:gd name="T36" fmla="*/ 102 w 445"/>
                  <a:gd name="T37" fmla="*/ 7 h 111"/>
                  <a:gd name="T38" fmla="*/ 102 w 445"/>
                  <a:gd name="T39" fmla="*/ 7 h 111"/>
                  <a:gd name="T40" fmla="*/ 102 w 445"/>
                  <a:gd name="T41" fmla="*/ 7 h 111"/>
                  <a:gd name="T42" fmla="*/ 110 w 445"/>
                  <a:gd name="T43" fmla="*/ 7 h 111"/>
                  <a:gd name="T44" fmla="*/ 111 w 445"/>
                  <a:gd name="T45" fmla="*/ 7 h 111"/>
                  <a:gd name="T46" fmla="*/ 111 w 445"/>
                  <a:gd name="T47" fmla="*/ 7 h 111"/>
                  <a:gd name="T48" fmla="*/ 111 w 445"/>
                  <a:gd name="T49" fmla="*/ 7 h 111"/>
                  <a:gd name="T50" fmla="*/ 111 w 445"/>
                  <a:gd name="T51" fmla="*/ 7 h 111"/>
                  <a:gd name="T52" fmla="*/ 192 w 445"/>
                  <a:gd name="T53" fmla="*/ 42 h 111"/>
                  <a:gd name="T54" fmla="*/ 222 w 445"/>
                  <a:gd name="T55" fmla="*/ 60 h 111"/>
                  <a:gd name="T56" fmla="*/ 223 w 445"/>
                  <a:gd name="T57" fmla="*/ 60 h 111"/>
                  <a:gd name="T58" fmla="*/ 224 w 445"/>
                  <a:gd name="T59" fmla="*/ 60 h 111"/>
                  <a:gd name="T60" fmla="*/ 225 w 445"/>
                  <a:gd name="T61" fmla="*/ 60 h 111"/>
                  <a:gd name="T62" fmla="*/ 225 w 445"/>
                  <a:gd name="T63" fmla="*/ 61 h 111"/>
                  <a:gd name="T64" fmla="*/ 334 w 445"/>
                  <a:gd name="T65" fmla="*/ 88 h 111"/>
                  <a:gd name="T66" fmla="*/ 334 w 445"/>
                  <a:gd name="T67" fmla="*/ 88 h 111"/>
                  <a:gd name="T68" fmla="*/ 339 w 445"/>
                  <a:gd name="T69" fmla="*/ 88 h 111"/>
                  <a:gd name="T70" fmla="*/ 339 w 445"/>
                  <a:gd name="T71" fmla="*/ 88 h 111"/>
                  <a:gd name="T72" fmla="*/ 339 w 445"/>
                  <a:gd name="T73" fmla="*/ 88 h 111"/>
                  <a:gd name="T74" fmla="*/ 339 w 445"/>
                  <a:gd name="T75" fmla="*/ 88 h 111"/>
                  <a:gd name="T76" fmla="*/ 435 w 445"/>
                  <a:gd name="T77" fmla="*/ 53 h 111"/>
                  <a:gd name="T78" fmla="*/ 435 w 445"/>
                  <a:gd name="T79" fmla="*/ 52 h 111"/>
                  <a:gd name="T80" fmla="*/ 435 w 445"/>
                  <a:gd name="T81" fmla="*/ 52 h 111"/>
                  <a:gd name="T82" fmla="*/ 437 w 445"/>
                  <a:gd name="T83" fmla="*/ 51 h 111"/>
                  <a:gd name="T84" fmla="*/ 437 w 445"/>
                  <a:gd name="T85" fmla="*/ 51 h 111"/>
                  <a:gd name="T86" fmla="*/ 443 w 445"/>
                  <a:gd name="T87" fmla="*/ 33 h 111"/>
                  <a:gd name="T88" fmla="*/ 443 w 445"/>
                  <a:gd name="T89" fmla="*/ 32 h 111"/>
                  <a:gd name="T90" fmla="*/ 443 w 445"/>
                  <a:gd name="T91" fmla="*/ 55 h 111"/>
                  <a:gd name="T92" fmla="*/ 437 w 445"/>
                  <a:gd name="T93" fmla="*/ 73 h 111"/>
                  <a:gd name="T94" fmla="*/ 339 w 445"/>
                  <a:gd name="T9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45" h="111">
                    <a:moveTo>
                      <a:pt x="339" y="111"/>
                    </a:moveTo>
                    <a:cubicBezTo>
                      <a:pt x="337" y="111"/>
                      <a:pt x="336" y="111"/>
                      <a:pt x="334" y="111"/>
                    </a:cubicBezTo>
                    <a:cubicBezTo>
                      <a:pt x="297" y="110"/>
                      <a:pt x="260" y="97"/>
                      <a:pt x="225" y="83"/>
                    </a:cubicBezTo>
                    <a:cubicBezTo>
                      <a:pt x="191" y="69"/>
                      <a:pt x="148" y="30"/>
                      <a:pt x="111" y="30"/>
                    </a:cubicBezTo>
                    <a:cubicBezTo>
                      <a:pt x="110" y="30"/>
                      <a:pt x="110" y="30"/>
                      <a:pt x="110" y="30"/>
                    </a:cubicBezTo>
                    <a:cubicBezTo>
                      <a:pt x="106" y="30"/>
                      <a:pt x="102" y="30"/>
                      <a:pt x="98" y="30"/>
                    </a:cubicBezTo>
                    <a:cubicBezTo>
                      <a:pt x="64" y="30"/>
                      <a:pt x="34" y="27"/>
                      <a:pt x="1" y="23"/>
                    </a:cubicBezTo>
                    <a:cubicBezTo>
                      <a:pt x="0" y="16"/>
                      <a:pt x="0" y="8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6" y="1"/>
                      <a:pt x="7" y="1"/>
                      <a:pt x="7" y="1"/>
                    </a:cubicBezTo>
                    <a:cubicBezTo>
                      <a:pt x="8" y="1"/>
                      <a:pt x="9" y="1"/>
                      <a:pt x="11" y="1"/>
                    </a:cubicBezTo>
                    <a:cubicBezTo>
                      <a:pt x="11" y="1"/>
                      <a:pt x="11" y="1"/>
                      <a:pt x="12" y="1"/>
                    </a:cubicBezTo>
                    <a:cubicBezTo>
                      <a:pt x="41" y="4"/>
                      <a:pt x="73" y="7"/>
                      <a:pt x="102" y="7"/>
                    </a:cubicBezTo>
                    <a:lnTo>
                      <a:pt x="102" y="7"/>
                    </a:lnTo>
                    <a:lnTo>
                      <a:pt x="102" y="7"/>
                    </a:lnTo>
                    <a:lnTo>
                      <a:pt x="102" y="7"/>
                    </a:lnTo>
                    <a:cubicBezTo>
                      <a:pt x="105" y="7"/>
                      <a:pt x="107" y="7"/>
                      <a:pt x="110" y="7"/>
                    </a:cubicBezTo>
                    <a:cubicBezTo>
                      <a:pt x="110" y="7"/>
                      <a:pt x="110" y="7"/>
                      <a:pt x="111" y="7"/>
                    </a:cubicBezTo>
                    <a:lnTo>
                      <a:pt x="111" y="7"/>
                    </a:lnTo>
                    <a:lnTo>
                      <a:pt x="111" y="7"/>
                    </a:lnTo>
                    <a:lnTo>
                      <a:pt x="111" y="7"/>
                    </a:lnTo>
                    <a:cubicBezTo>
                      <a:pt x="137" y="7"/>
                      <a:pt x="165" y="26"/>
                      <a:pt x="192" y="42"/>
                    </a:cubicBezTo>
                    <a:cubicBezTo>
                      <a:pt x="202" y="49"/>
                      <a:pt x="213" y="55"/>
                      <a:pt x="222" y="60"/>
                    </a:cubicBezTo>
                    <a:cubicBezTo>
                      <a:pt x="222" y="60"/>
                      <a:pt x="223" y="60"/>
                      <a:pt x="223" y="60"/>
                    </a:cubicBezTo>
                    <a:cubicBezTo>
                      <a:pt x="223" y="60"/>
                      <a:pt x="224" y="60"/>
                      <a:pt x="224" y="60"/>
                    </a:cubicBezTo>
                    <a:cubicBezTo>
                      <a:pt x="224" y="60"/>
                      <a:pt x="224" y="60"/>
                      <a:pt x="225" y="60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60" y="75"/>
                      <a:pt x="297" y="87"/>
                      <a:pt x="334" y="88"/>
                    </a:cubicBezTo>
                    <a:lnTo>
                      <a:pt x="334" y="88"/>
                    </a:lnTo>
                    <a:cubicBezTo>
                      <a:pt x="336" y="88"/>
                      <a:pt x="337" y="88"/>
                      <a:pt x="339" y="88"/>
                    </a:cubicBezTo>
                    <a:lnTo>
                      <a:pt x="339" y="88"/>
                    </a:lnTo>
                    <a:lnTo>
                      <a:pt x="339" y="88"/>
                    </a:lnTo>
                    <a:lnTo>
                      <a:pt x="339" y="88"/>
                    </a:lnTo>
                    <a:cubicBezTo>
                      <a:pt x="374" y="88"/>
                      <a:pt x="410" y="77"/>
                      <a:pt x="435" y="53"/>
                    </a:cubicBezTo>
                    <a:lnTo>
                      <a:pt x="435" y="52"/>
                    </a:lnTo>
                    <a:cubicBezTo>
                      <a:pt x="435" y="52"/>
                      <a:pt x="435" y="52"/>
                      <a:pt x="435" y="52"/>
                    </a:cubicBezTo>
                    <a:cubicBezTo>
                      <a:pt x="436" y="52"/>
                      <a:pt x="436" y="51"/>
                      <a:pt x="437" y="51"/>
                    </a:cubicBezTo>
                    <a:lnTo>
                      <a:pt x="437" y="51"/>
                    </a:lnTo>
                    <a:cubicBezTo>
                      <a:pt x="437" y="51"/>
                      <a:pt x="441" y="44"/>
                      <a:pt x="443" y="33"/>
                    </a:cubicBezTo>
                    <a:lnTo>
                      <a:pt x="443" y="32"/>
                    </a:lnTo>
                    <a:cubicBezTo>
                      <a:pt x="445" y="39"/>
                      <a:pt x="445" y="47"/>
                      <a:pt x="443" y="55"/>
                    </a:cubicBezTo>
                    <a:cubicBezTo>
                      <a:pt x="441" y="66"/>
                      <a:pt x="437" y="73"/>
                      <a:pt x="437" y="73"/>
                    </a:cubicBezTo>
                    <a:cubicBezTo>
                      <a:pt x="412" y="99"/>
                      <a:pt x="375" y="111"/>
                      <a:pt x="339" y="111"/>
                    </a:cubicBezTo>
                  </a:path>
                </a:pathLst>
              </a:custGeom>
              <a:solidFill>
                <a:srgbClr val="2626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 134"/>
              <p:cNvSpPr>
                <a:spLocks noEditPoints="1"/>
              </p:cNvSpPr>
              <p:nvPr/>
            </p:nvSpPr>
            <p:spPr bwMode="auto">
              <a:xfrm>
                <a:off x="3175" y="504"/>
                <a:ext cx="717" cy="1432"/>
              </a:xfrm>
              <a:custGeom>
                <a:avLst/>
                <a:gdLst>
                  <a:gd name="T0" fmla="*/ 428 w 1494"/>
                  <a:gd name="T1" fmla="*/ 2984 h 2984"/>
                  <a:gd name="T2" fmla="*/ 0 w 1494"/>
                  <a:gd name="T3" fmla="*/ 2677 h 2984"/>
                  <a:gd name="T4" fmla="*/ 623 w 1494"/>
                  <a:gd name="T5" fmla="*/ 2317 h 2984"/>
                  <a:gd name="T6" fmla="*/ 623 w 1494"/>
                  <a:gd name="T7" fmla="*/ 1598 h 2984"/>
                  <a:gd name="T8" fmla="*/ 662 w 1494"/>
                  <a:gd name="T9" fmla="*/ 1689 h 2984"/>
                  <a:gd name="T10" fmla="*/ 748 w 1494"/>
                  <a:gd name="T11" fmla="*/ 1750 h 2984"/>
                  <a:gd name="T12" fmla="*/ 858 w 1494"/>
                  <a:gd name="T13" fmla="*/ 1768 h 2984"/>
                  <a:gd name="T14" fmla="*/ 897 w 1494"/>
                  <a:gd name="T15" fmla="*/ 1780 h 2984"/>
                  <a:gd name="T16" fmla="*/ 970 w 1494"/>
                  <a:gd name="T17" fmla="*/ 1816 h 2984"/>
                  <a:gd name="T18" fmla="*/ 963 w 1494"/>
                  <a:gd name="T19" fmla="*/ 1820 h 2984"/>
                  <a:gd name="T20" fmla="*/ 1052 w 1494"/>
                  <a:gd name="T21" fmla="*/ 1891 h 2984"/>
                  <a:gd name="T22" fmla="*/ 1052 w 1494"/>
                  <a:gd name="T23" fmla="*/ 1891 h 2984"/>
                  <a:gd name="T24" fmla="*/ 1301 w 1494"/>
                  <a:gd name="T25" fmla="*/ 2037 h 2984"/>
                  <a:gd name="T26" fmla="*/ 1342 w 1494"/>
                  <a:gd name="T27" fmla="*/ 2030 h 2984"/>
                  <a:gd name="T28" fmla="*/ 1457 w 1494"/>
                  <a:gd name="T29" fmla="*/ 1728 h 2984"/>
                  <a:gd name="T30" fmla="*/ 1478 w 1494"/>
                  <a:gd name="T31" fmla="*/ 1780 h 2984"/>
                  <a:gd name="T32" fmla="*/ 1478 w 1494"/>
                  <a:gd name="T33" fmla="*/ 1780 h 2984"/>
                  <a:gd name="T34" fmla="*/ 1479 w 1494"/>
                  <a:gd name="T35" fmla="*/ 1781 h 2984"/>
                  <a:gd name="T36" fmla="*/ 1479 w 1494"/>
                  <a:gd name="T37" fmla="*/ 1781 h 2984"/>
                  <a:gd name="T38" fmla="*/ 1479 w 1494"/>
                  <a:gd name="T39" fmla="*/ 1781 h 2984"/>
                  <a:gd name="T40" fmla="*/ 1480 w 1494"/>
                  <a:gd name="T41" fmla="*/ 1784 h 2984"/>
                  <a:gd name="T42" fmla="*/ 1480 w 1494"/>
                  <a:gd name="T43" fmla="*/ 1784 h 2984"/>
                  <a:gd name="T44" fmla="*/ 1480 w 1494"/>
                  <a:gd name="T45" fmla="*/ 1784 h 2984"/>
                  <a:gd name="T46" fmla="*/ 1492 w 1494"/>
                  <a:gd name="T47" fmla="*/ 1856 h 2984"/>
                  <a:gd name="T48" fmla="*/ 1493 w 1494"/>
                  <a:gd name="T49" fmla="*/ 1854 h 2984"/>
                  <a:gd name="T50" fmla="*/ 1492 w 1494"/>
                  <a:gd name="T51" fmla="*/ 1861 h 2984"/>
                  <a:gd name="T52" fmla="*/ 1473 w 1494"/>
                  <a:gd name="T53" fmla="*/ 2101 h 2984"/>
                  <a:gd name="T54" fmla="*/ 1427 w 1494"/>
                  <a:gd name="T55" fmla="*/ 2917 h 2984"/>
                  <a:gd name="T56" fmla="*/ 1360 w 1494"/>
                  <a:gd name="T57" fmla="*/ 2917 h 2984"/>
                  <a:gd name="T58" fmla="*/ 428 w 1494"/>
                  <a:gd name="T59" fmla="*/ 2984 h 2984"/>
                  <a:gd name="T60" fmla="*/ 1241 w 1494"/>
                  <a:gd name="T61" fmla="*/ 1795 h 2984"/>
                  <a:gd name="T62" fmla="*/ 1125 w 1494"/>
                  <a:gd name="T63" fmla="*/ 1739 h 2984"/>
                  <a:gd name="T64" fmla="*/ 1126 w 1494"/>
                  <a:gd name="T65" fmla="*/ 1760 h 2984"/>
                  <a:gd name="T66" fmla="*/ 1125 w 1494"/>
                  <a:gd name="T67" fmla="*/ 1739 h 2984"/>
                  <a:gd name="T68" fmla="*/ 1017 w 1494"/>
                  <a:gd name="T69" fmla="*/ 1701 h 2984"/>
                  <a:gd name="T70" fmla="*/ 1017 w 1494"/>
                  <a:gd name="T71" fmla="*/ 1706 h 2984"/>
                  <a:gd name="T72" fmla="*/ 992 w 1494"/>
                  <a:gd name="T73" fmla="*/ 1694 h 2984"/>
                  <a:gd name="T74" fmla="*/ 946 w 1494"/>
                  <a:gd name="T75" fmla="*/ 1651 h 2984"/>
                  <a:gd name="T76" fmla="*/ 927 w 1494"/>
                  <a:gd name="T77" fmla="*/ 1617 h 2984"/>
                  <a:gd name="T78" fmla="*/ 870 w 1494"/>
                  <a:gd name="T79" fmla="*/ 1564 h 2984"/>
                  <a:gd name="T80" fmla="*/ 771 w 1494"/>
                  <a:gd name="T81" fmla="*/ 1499 h 2984"/>
                  <a:gd name="T82" fmla="*/ 779 w 1494"/>
                  <a:gd name="T83" fmla="*/ 1563 h 2984"/>
                  <a:gd name="T84" fmla="*/ 819 w 1494"/>
                  <a:gd name="T85" fmla="*/ 1596 h 2984"/>
                  <a:gd name="T86" fmla="*/ 790 w 1494"/>
                  <a:gd name="T87" fmla="*/ 1603 h 2984"/>
                  <a:gd name="T88" fmla="*/ 763 w 1494"/>
                  <a:gd name="T89" fmla="*/ 1606 h 2984"/>
                  <a:gd name="T90" fmla="*/ 725 w 1494"/>
                  <a:gd name="T91" fmla="*/ 1599 h 2984"/>
                  <a:gd name="T92" fmla="*/ 640 w 1494"/>
                  <a:gd name="T93" fmla="*/ 1566 h 2984"/>
                  <a:gd name="T94" fmla="*/ 634 w 1494"/>
                  <a:gd name="T95" fmla="*/ 1565 h 2984"/>
                  <a:gd name="T96" fmla="*/ 623 w 1494"/>
                  <a:gd name="T97" fmla="*/ 1571 h 2984"/>
                  <a:gd name="T98" fmla="*/ 623 w 1494"/>
                  <a:gd name="T99" fmla="*/ 0 h 2984"/>
                  <a:gd name="T100" fmla="*/ 1333 w 1494"/>
                  <a:gd name="T101" fmla="*/ 1368 h 2984"/>
                  <a:gd name="T102" fmla="*/ 1290 w 1494"/>
                  <a:gd name="T103" fmla="*/ 1536 h 2984"/>
                  <a:gd name="T104" fmla="*/ 1241 w 1494"/>
                  <a:gd name="T105" fmla="*/ 1795 h 29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94" h="2984">
                    <a:moveTo>
                      <a:pt x="428" y="2984"/>
                    </a:moveTo>
                    <a:lnTo>
                      <a:pt x="0" y="2677"/>
                    </a:lnTo>
                    <a:lnTo>
                      <a:pt x="623" y="2317"/>
                    </a:lnTo>
                    <a:lnTo>
                      <a:pt x="623" y="1598"/>
                    </a:lnTo>
                    <a:cubicBezTo>
                      <a:pt x="631" y="1631"/>
                      <a:pt x="647" y="1664"/>
                      <a:pt x="662" y="1689"/>
                    </a:cubicBezTo>
                    <a:cubicBezTo>
                      <a:pt x="680" y="1721"/>
                      <a:pt x="712" y="1743"/>
                      <a:pt x="748" y="1750"/>
                    </a:cubicBezTo>
                    <a:cubicBezTo>
                      <a:pt x="792" y="1758"/>
                      <a:pt x="834" y="1764"/>
                      <a:pt x="858" y="1768"/>
                    </a:cubicBezTo>
                    <a:cubicBezTo>
                      <a:pt x="872" y="1770"/>
                      <a:pt x="885" y="1774"/>
                      <a:pt x="897" y="1780"/>
                    </a:cubicBezTo>
                    <a:lnTo>
                      <a:pt x="970" y="1816"/>
                    </a:lnTo>
                    <a:cubicBezTo>
                      <a:pt x="966" y="1819"/>
                      <a:pt x="963" y="1820"/>
                      <a:pt x="963" y="1820"/>
                    </a:cubicBezTo>
                    <a:cubicBezTo>
                      <a:pt x="987" y="1841"/>
                      <a:pt x="1024" y="1872"/>
                      <a:pt x="1052" y="1891"/>
                    </a:cubicBezTo>
                    <a:lnTo>
                      <a:pt x="1052" y="1891"/>
                    </a:lnTo>
                    <a:cubicBezTo>
                      <a:pt x="1167" y="1965"/>
                      <a:pt x="1230" y="2037"/>
                      <a:pt x="1301" y="2037"/>
                    </a:cubicBezTo>
                    <a:cubicBezTo>
                      <a:pt x="1314" y="2037"/>
                      <a:pt x="1328" y="2035"/>
                      <a:pt x="1342" y="2030"/>
                    </a:cubicBezTo>
                    <a:cubicBezTo>
                      <a:pt x="1410" y="2003"/>
                      <a:pt x="1443" y="1842"/>
                      <a:pt x="1457" y="1728"/>
                    </a:cubicBezTo>
                    <a:cubicBezTo>
                      <a:pt x="1465" y="1748"/>
                      <a:pt x="1472" y="1766"/>
                      <a:pt x="1478" y="1780"/>
                    </a:cubicBezTo>
                    <a:cubicBezTo>
                      <a:pt x="1478" y="1780"/>
                      <a:pt x="1478" y="1780"/>
                      <a:pt x="1478" y="1780"/>
                    </a:cubicBezTo>
                    <a:cubicBezTo>
                      <a:pt x="1479" y="1780"/>
                      <a:pt x="1479" y="1781"/>
                      <a:pt x="1479" y="1781"/>
                    </a:cubicBezTo>
                    <a:cubicBezTo>
                      <a:pt x="1479" y="1781"/>
                      <a:pt x="1479" y="1781"/>
                      <a:pt x="1479" y="1781"/>
                    </a:cubicBezTo>
                    <a:lnTo>
                      <a:pt x="1479" y="1781"/>
                    </a:lnTo>
                    <a:cubicBezTo>
                      <a:pt x="1479" y="1782"/>
                      <a:pt x="1480" y="1783"/>
                      <a:pt x="1480" y="1784"/>
                    </a:cubicBezTo>
                    <a:lnTo>
                      <a:pt x="1480" y="1784"/>
                    </a:lnTo>
                    <a:cubicBezTo>
                      <a:pt x="1480" y="1784"/>
                      <a:pt x="1480" y="1784"/>
                      <a:pt x="1480" y="1784"/>
                    </a:cubicBezTo>
                    <a:cubicBezTo>
                      <a:pt x="1489" y="1807"/>
                      <a:pt x="1494" y="1831"/>
                      <a:pt x="1492" y="1856"/>
                    </a:cubicBezTo>
                    <a:cubicBezTo>
                      <a:pt x="1492" y="1855"/>
                      <a:pt x="1493" y="1855"/>
                      <a:pt x="1493" y="1854"/>
                    </a:cubicBezTo>
                    <a:cubicBezTo>
                      <a:pt x="1493" y="1856"/>
                      <a:pt x="1492" y="1858"/>
                      <a:pt x="1492" y="1861"/>
                    </a:cubicBezTo>
                    <a:lnTo>
                      <a:pt x="1473" y="2101"/>
                    </a:lnTo>
                    <a:cubicBezTo>
                      <a:pt x="1473" y="2101"/>
                      <a:pt x="1409" y="2448"/>
                      <a:pt x="1427" y="2917"/>
                    </a:cubicBezTo>
                    <a:cubicBezTo>
                      <a:pt x="1405" y="2917"/>
                      <a:pt x="1383" y="2917"/>
                      <a:pt x="1360" y="2917"/>
                    </a:cubicBezTo>
                    <a:cubicBezTo>
                      <a:pt x="1047" y="2917"/>
                      <a:pt x="734" y="2939"/>
                      <a:pt x="428" y="2984"/>
                    </a:cubicBezTo>
                    <a:moveTo>
                      <a:pt x="1241" y="1795"/>
                    </a:moveTo>
                    <a:lnTo>
                      <a:pt x="1125" y="1739"/>
                    </a:lnTo>
                    <a:cubicBezTo>
                      <a:pt x="1125" y="1746"/>
                      <a:pt x="1126" y="1753"/>
                      <a:pt x="1126" y="1760"/>
                    </a:cubicBezTo>
                    <a:cubicBezTo>
                      <a:pt x="1126" y="1753"/>
                      <a:pt x="1125" y="1746"/>
                      <a:pt x="1125" y="1739"/>
                    </a:cubicBezTo>
                    <a:lnTo>
                      <a:pt x="1017" y="1701"/>
                    </a:lnTo>
                    <a:cubicBezTo>
                      <a:pt x="1017" y="1703"/>
                      <a:pt x="1017" y="1704"/>
                      <a:pt x="1017" y="1706"/>
                    </a:cubicBezTo>
                    <a:lnTo>
                      <a:pt x="992" y="1694"/>
                    </a:lnTo>
                    <a:cubicBezTo>
                      <a:pt x="973" y="1684"/>
                      <a:pt x="957" y="1669"/>
                      <a:pt x="946" y="1651"/>
                    </a:cubicBezTo>
                    <a:lnTo>
                      <a:pt x="927" y="1617"/>
                    </a:lnTo>
                    <a:cubicBezTo>
                      <a:pt x="913" y="1594"/>
                      <a:pt x="893" y="1576"/>
                      <a:pt x="870" y="1564"/>
                    </a:cubicBezTo>
                    <a:cubicBezTo>
                      <a:pt x="809" y="1534"/>
                      <a:pt x="771" y="1499"/>
                      <a:pt x="771" y="1499"/>
                    </a:cubicBezTo>
                    <a:cubicBezTo>
                      <a:pt x="758" y="1519"/>
                      <a:pt x="761" y="1547"/>
                      <a:pt x="779" y="1563"/>
                    </a:cubicBezTo>
                    <a:cubicBezTo>
                      <a:pt x="798" y="1581"/>
                      <a:pt x="819" y="1596"/>
                      <a:pt x="819" y="1596"/>
                    </a:cubicBezTo>
                    <a:lnTo>
                      <a:pt x="790" y="1603"/>
                    </a:lnTo>
                    <a:cubicBezTo>
                      <a:pt x="781" y="1605"/>
                      <a:pt x="772" y="1606"/>
                      <a:pt x="763" y="1606"/>
                    </a:cubicBezTo>
                    <a:cubicBezTo>
                      <a:pt x="750" y="1606"/>
                      <a:pt x="737" y="1604"/>
                      <a:pt x="725" y="1599"/>
                    </a:cubicBezTo>
                    <a:lnTo>
                      <a:pt x="640" y="1566"/>
                    </a:lnTo>
                    <a:cubicBezTo>
                      <a:pt x="638" y="1565"/>
                      <a:pt x="636" y="1565"/>
                      <a:pt x="634" y="1565"/>
                    </a:cubicBezTo>
                    <a:cubicBezTo>
                      <a:pt x="630" y="1565"/>
                      <a:pt x="626" y="1567"/>
                      <a:pt x="623" y="1571"/>
                    </a:cubicBezTo>
                    <a:lnTo>
                      <a:pt x="623" y="0"/>
                    </a:lnTo>
                    <a:lnTo>
                      <a:pt x="1333" y="1368"/>
                    </a:lnTo>
                    <a:cubicBezTo>
                      <a:pt x="1301" y="1410"/>
                      <a:pt x="1299" y="1467"/>
                      <a:pt x="1290" y="1536"/>
                    </a:cubicBezTo>
                    <a:cubicBezTo>
                      <a:pt x="1277" y="1654"/>
                      <a:pt x="1241" y="1795"/>
                      <a:pt x="1241" y="1795"/>
                    </a:cubicBez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 135"/>
              <p:cNvSpPr>
                <a:spLocks/>
              </p:cNvSpPr>
              <p:nvPr/>
            </p:nvSpPr>
            <p:spPr bwMode="auto">
              <a:xfrm>
                <a:off x="3380" y="1904"/>
                <a:ext cx="486" cy="364"/>
              </a:xfrm>
              <a:custGeom>
                <a:avLst/>
                <a:gdLst>
                  <a:gd name="T0" fmla="*/ 963 w 1012"/>
                  <a:gd name="T1" fmla="*/ 757 h 757"/>
                  <a:gd name="T2" fmla="*/ 389 w 1012"/>
                  <a:gd name="T3" fmla="*/ 345 h 757"/>
                  <a:gd name="T4" fmla="*/ 411 w 1012"/>
                  <a:gd name="T5" fmla="*/ 333 h 757"/>
                  <a:gd name="T6" fmla="*/ 411 w 1012"/>
                  <a:gd name="T7" fmla="*/ 246 h 757"/>
                  <a:gd name="T8" fmla="*/ 245 w 1012"/>
                  <a:gd name="T9" fmla="*/ 150 h 757"/>
                  <a:gd name="T10" fmla="*/ 186 w 1012"/>
                  <a:gd name="T11" fmla="*/ 134 h 757"/>
                  <a:gd name="T12" fmla="*/ 128 w 1012"/>
                  <a:gd name="T13" fmla="*/ 150 h 757"/>
                  <a:gd name="T14" fmla="*/ 122 w 1012"/>
                  <a:gd name="T15" fmla="*/ 154 h 757"/>
                  <a:gd name="T16" fmla="*/ 0 w 1012"/>
                  <a:gd name="T17" fmla="*/ 67 h 757"/>
                  <a:gd name="T18" fmla="*/ 932 w 1012"/>
                  <a:gd name="T19" fmla="*/ 0 h 757"/>
                  <a:gd name="T20" fmla="*/ 999 w 1012"/>
                  <a:gd name="T21" fmla="*/ 0 h 757"/>
                  <a:gd name="T22" fmla="*/ 1012 w 1012"/>
                  <a:gd name="T23" fmla="*/ 200 h 757"/>
                  <a:gd name="T24" fmla="*/ 963 w 1012"/>
                  <a:gd name="T25" fmla="*/ 757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12" h="757">
                    <a:moveTo>
                      <a:pt x="963" y="757"/>
                    </a:moveTo>
                    <a:lnTo>
                      <a:pt x="389" y="345"/>
                    </a:lnTo>
                    <a:lnTo>
                      <a:pt x="411" y="333"/>
                    </a:lnTo>
                    <a:cubicBezTo>
                      <a:pt x="445" y="313"/>
                      <a:pt x="445" y="265"/>
                      <a:pt x="411" y="246"/>
                    </a:cubicBezTo>
                    <a:lnTo>
                      <a:pt x="245" y="150"/>
                    </a:lnTo>
                    <a:cubicBezTo>
                      <a:pt x="227" y="139"/>
                      <a:pt x="207" y="134"/>
                      <a:pt x="186" y="134"/>
                    </a:cubicBezTo>
                    <a:cubicBezTo>
                      <a:pt x="166" y="134"/>
                      <a:pt x="146" y="139"/>
                      <a:pt x="128" y="150"/>
                    </a:cubicBezTo>
                    <a:lnTo>
                      <a:pt x="122" y="154"/>
                    </a:lnTo>
                    <a:lnTo>
                      <a:pt x="0" y="67"/>
                    </a:lnTo>
                    <a:cubicBezTo>
                      <a:pt x="306" y="22"/>
                      <a:pt x="619" y="0"/>
                      <a:pt x="932" y="0"/>
                    </a:cubicBezTo>
                    <a:cubicBezTo>
                      <a:pt x="955" y="0"/>
                      <a:pt x="977" y="0"/>
                      <a:pt x="999" y="0"/>
                    </a:cubicBezTo>
                    <a:cubicBezTo>
                      <a:pt x="1002" y="65"/>
                      <a:pt x="1006" y="131"/>
                      <a:pt x="1012" y="200"/>
                    </a:cubicBezTo>
                    <a:cubicBezTo>
                      <a:pt x="957" y="344"/>
                      <a:pt x="959" y="551"/>
                      <a:pt x="963" y="757"/>
                    </a:cubicBezTo>
                    <a:close/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 136"/>
              <p:cNvSpPr>
                <a:spLocks/>
              </p:cNvSpPr>
              <p:nvPr/>
            </p:nvSpPr>
            <p:spPr bwMode="auto">
              <a:xfrm>
                <a:off x="3439" y="1969"/>
                <a:ext cx="155" cy="101"/>
              </a:xfrm>
              <a:custGeom>
                <a:avLst/>
                <a:gdLst>
                  <a:gd name="T0" fmla="*/ 267 w 323"/>
                  <a:gd name="T1" fmla="*/ 211 h 211"/>
                  <a:gd name="T2" fmla="*/ 0 w 323"/>
                  <a:gd name="T3" fmla="*/ 20 h 211"/>
                  <a:gd name="T4" fmla="*/ 6 w 323"/>
                  <a:gd name="T5" fmla="*/ 16 h 211"/>
                  <a:gd name="T6" fmla="*/ 64 w 323"/>
                  <a:gd name="T7" fmla="*/ 0 h 211"/>
                  <a:gd name="T8" fmla="*/ 123 w 323"/>
                  <a:gd name="T9" fmla="*/ 16 h 211"/>
                  <a:gd name="T10" fmla="*/ 289 w 323"/>
                  <a:gd name="T11" fmla="*/ 112 h 211"/>
                  <a:gd name="T12" fmla="*/ 289 w 323"/>
                  <a:gd name="T13" fmla="*/ 199 h 211"/>
                  <a:gd name="T14" fmla="*/ 267 w 323"/>
                  <a:gd name="T15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3" h="211">
                    <a:moveTo>
                      <a:pt x="267" y="211"/>
                    </a:moveTo>
                    <a:lnTo>
                      <a:pt x="0" y="20"/>
                    </a:lnTo>
                    <a:lnTo>
                      <a:pt x="6" y="16"/>
                    </a:lnTo>
                    <a:cubicBezTo>
                      <a:pt x="24" y="5"/>
                      <a:pt x="44" y="0"/>
                      <a:pt x="64" y="0"/>
                    </a:cubicBezTo>
                    <a:cubicBezTo>
                      <a:pt x="85" y="0"/>
                      <a:pt x="105" y="5"/>
                      <a:pt x="123" y="16"/>
                    </a:cubicBezTo>
                    <a:lnTo>
                      <a:pt x="289" y="112"/>
                    </a:lnTo>
                    <a:cubicBezTo>
                      <a:pt x="323" y="131"/>
                      <a:pt x="323" y="179"/>
                      <a:pt x="289" y="199"/>
                    </a:cubicBezTo>
                    <a:lnTo>
                      <a:pt x="267" y="211"/>
                    </a:lnTo>
                  </a:path>
                </a:pathLst>
              </a:custGeom>
              <a:solidFill>
                <a:srgbClr val="D9B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 137"/>
              <p:cNvSpPr>
                <a:spLocks/>
              </p:cNvSpPr>
              <p:nvPr/>
            </p:nvSpPr>
            <p:spPr bwMode="auto">
              <a:xfrm>
                <a:off x="3132" y="448"/>
                <a:ext cx="342" cy="1341"/>
              </a:xfrm>
              <a:custGeom>
                <a:avLst/>
                <a:gdLst>
                  <a:gd name="T0" fmla="*/ 89 w 712"/>
                  <a:gd name="T1" fmla="*/ 2792 h 2792"/>
                  <a:gd name="T2" fmla="*/ 0 w 712"/>
                  <a:gd name="T3" fmla="*/ 2728 h 2792"/>
                  <a:gd name="T4" fmla="*/ 612 w 712"/>
                  <a:gd name="T5" fmla="*/ 2375 h 2792"/>
                  <a:gd name="T6" fmla="*/ 612 w 712"/>
                  <a:gd name="T7" fmla="*/ 23 h 2792"/>
                  <a:gd name="T8" fmla="*/ 652 w 712"/>
                  <a:gd name="T9" fmla="*/ 0 h 2792"/>
                  <a:gd name="T10" fmla="*/ 712 w 712"/>
                  <a:gd name="T11" fmla="*/ 115 h 2792"/>
                  <a:gd name="T12" fmla="*/ 712 w 712"/>
                  <a:gd name="T13" fmla="*/ 1686 h 2792"/>
                  <a:gd name="T14" fmla="*/ 709 w 712"/>
                  <a:gd name="T15" fmla="*/ 1697 h 2792"/>
                  <a:gd name="T16" fmla="*/ 712 w 712"/>
                  <a:gd name="T17" fmla="*/ 1713 h 2792"/>
                  <a:gd name="T18" fmla="*/ 712 w 712"/>
                  <a:gd name="T19" fmla="*/ 2432 h 2792"/>
                  <a:gd name="T20" fmla="*/ 89 w 712"/>
                  <a:gd name="T21" fmla="*/ 2792 h 2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12" h="2792">
                    <a:moveTo>
                      <a:pt x="89" y="2792"/>
                    </a:moveTo>
                    <a:lnTo>
                      <a:pt x="0" y="2728"/>
                    </a:lnTo>
                    <a:lnTo>
                      <a:pt x="612" y="2375"/>
                    </a:lnTo>
                    <a:lnTo>
                      <a:pt x="612" y="23"/>
                    </a:lnTo>
                    <a:lnTo>
                      <a:pt x="652" y="0"/>
                    </a:lnTo>
                    <a:lnTo>
                      <a:pt x="712" y="115"/>
                    </a:lnTo>
                    <a:lnTo>
                      <a:pt x="712" y="1686"/>
                    </a:lnTo>
                    <a:cubicBezTo>
                      <a:pt x="709" y="1689"/>
                      <a:pt x="708" y="1693"/>
                      <a:pt x="709" y="1697"/>
                    </a:cubicBezTo>
                    <a:cubicBezTo>
                      <a:pt x="710" y="1702"/>
                      <a:pt x="711" y="1708"/>
                      <a:pt x="712" y="1713"/>
                    </a:cubicBezTo>
                    <a:lnTo>
                      <a:pt x="712" y="2432"/>
                    </a:lnTo>
                    <a:lnTo>
                      <a:pt x="89" y="2792"/>
                    </a:lnTo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 138"/>
              <p:cNvSpPr>
                <a:spLocks noEditPoints="1"/>
              </p:cNvSpPr>
              <p:nvPr/>
            </p:nvSpPr>
            <p:spPr bwMode="auto">
              <a:xfrm>
                <a:off x="2250" y="459"/>
                <a:ext cx="1176" cy="1299"/>
              </a:xfrm>
              <a:custGeom>
                <a:avLst/>
                <a:gdLst>
                  <a:gd name="T0" fmla="*/ 1479 w 2448"/>
                  <a:gd name="T1" fmla="*/ 2375 h 2705"/>
                  <a:gd name="T2" fmla="*/ 1332 w 2448"/>
                  <a:gd name="T3" fmla="*/ 2343 h 2705"/>
                  <a:gd name="T4" fmla="*/ 1287 w 2448"/>
                  <a:gd name="T5" fmla="*/ 2311 h 2705"/>
                  <a:gd name="T6" fmla="*/ 1478 w 2448"/>
                  <a:gd name="T7" fmla="*/ 2085 h 2705"/>
                  <a:gd name="T8" fmla="*/ 734 w 2448"/>
                  <a:gd name="T9" fmla="*/ 1861 h 2705"/>
                  <a:gd name="T10" fmla="*/ 579 w 2448"/>
                  <a:gd name="T11" fmla="*/ 1643 h 2705"/>
                  <a:gd name="T12" fmla="*/ 563 w 2448"/>
                  <a:gd name="T13" fmla="*/ 1642 h 2705"/>
                  <a:gd name="T14" fmla="*/ 24 w 2448"/>
                  <a:gd name="T15" fmla="*/ 1405 h 2705"/>
                  <a:gd name="T16" fmla="*/ 1836 w 2448"/>
                  <a:gd name="T17" fmla="*/ 2705 h 2705"/>
                  <a:gd name="T18" fmla="*/ 1653 w 2448"/>
                  <a:gd name="T19" fmla="*/ 2275 h 2705"/>
                  <a:gd name="T20" fmla="*/ 2266 w 2448"/>
                  <a:gd name="T21" fmla="*/ 1746 h 2705"/>
                  <a:gd name="T22" fmla="*/ 2266 w 2448"/>
                  <a:gd name="T23" fmla="*/ 1804 h 2705"/>
                  <a:gd name="T24" fmla="*/ 1894 w 2448"/>
                  <a:gd name="T25" fmla="*/ 2077 h 2705"/>
                  <a:gd name="T26" fmla="*/ 2266 w 2448"/>
                  <a:gd name="T27" fmla="*/ 1862 h 2705"/>
                  <a:gd name="T28" fmla="*/ 906 w 2448"/>
                  <a:gd name="T29" fmla="*/ 2015 h 2705"/>
                  <a:gd name="T30" fmla="*/ 999 w 2448"/>
                  <a:gd name="T31" fmla="*/ 1961 h 2705"/>
                  <a:gd name="T32" fmla="*/ 1652 w 2448"/>
                  <a:gd name="T33" fmla="*/ 1984 h 2705"/>
                  <a:gd name="T34" fmla="*/ 1886 w 2448"/>
                  <a:gd name="T35" fmla="*/ 1849 h 2705"/>
                  <a:gd name="T36" fmla="*/ 1061 w 2448"/>
                  <a:gd name="T37" fmla="*/ 1955 h 2705"/>
                  <a:gd name="T38" fmla="*/ 2084 w 2448"/>
                  <a:gd name="T39" fmla="*/ 1619 h 2705"/>
                  <a:gd name="T40" fmla="*/ 2084 w 2448"/>
                  <a:gd name="T41" fmla="*/ 1677 h 2705"/>
                  <a:gd name="T42" fmla="*/ 1952 w 2448"/>
                  <a:gd name="T43" fmla="*/ 1811 h 2705"/>
                  <a:gd name="T44" fmla="*/ 2265 w 2448"/>
                  <a:gd name="T45" fmla="*/ 1630 h 2705"/>
                  <a:gd name="T46" fmla="*/ 905 w 2448"/>
                  <a:gd name="T47" fmla="*/ 1830 h 2705"/>
                  <a:gd name="T48" fmla="*/ 998 w 2448"/>
                  <a:gd name="T49" fmla="*/ 1776 h 2705"/>
                  <a:gd name="T50" fmla="*/ 1256 w 2448"/>
                  <a:gd name="T51" fmla="*/ 1781 h 2705"/>
                  <a:gd name="T52" fmla="*/ 1477 w 2448"/>
                  <a:gd name="T53" fmla="*/ 1654 h 2705"/>
                  <a:gd name="T54" fmla="*/ 1652 w 2448"/>
                  <a:gd name="T55" fmla="*/ 1811 h 2705"/>
                  <a:gd name="T56" fmla="*/ 1342 w 2448"/>
                  <a:gd name="T57" fmla="*/ 1547 h 2705"/>
                  <a:gd name="T58" fmla="*/ 1342 w 2448"/>
                  <a:gd name="T59" fmla="*/ 1609 h 2705"/>
                  <a:gd name="T60" fmla="*/ 1651 w 2448"/>
                  <a:gd name="T61" fmla="*/ 1430 h 2705"/>
                  <a:gd name="T62" fmla="*/ 1739 w 2448"/>
                  <a:gd name="T63" fmla="*/ 1380 h 2705"/>
                  <a:gd name="T64" fmla="*/ 905 w 2448"/>
                  <a:gd name="T65" fmla="*/ 1646 h 2705"/>
                  <a:gd name="T66" fmla="*/ 998 w 2448"/>
                  <a:gd name="T67" fmla="*/ 1592 h 2705"/>
                  <a:gd name="T68" fmla="*/ 1782 w 2448"/>
                  <a:gd name="T69" fmla="*/ 1139 h 2705"/>
                  <a:gd name="T70" fmla="*/ 1869 w 2448"/>
                  <a:gd name="T71" fmla="*/ 1088 h 2705"/>
                  <a:gd name="T72" fmla="*/ 1060 w 2448"/>
                  <a:gd name="T73" fmla="*/ 1587 h 2705"/>
                  <a:gd name="T74" fmla="*/ 2001 w 2448"/>
                  <a:gd name="T75" fmla="*/ 1100 h 2705"/>
                  <a:gd name="T76" fmla="*/ 2002 w 2448"/>
                  <a:gd name="T77" fmla="*/ 1535 h 2705"/>
                  <a:gd name="T78" fmla="*/ 2044 w 2448"/>
                  <a:gd name="T79" fmla="*/ 878 h 2705"/>
                  <a:gd name="T80" fmla="*/ 2132 w 2448"/>
                  <a:gd name="T81" fmla="*/ 828 h 2705"/>
                  <a:gd name="T82" fmla="*/ 904 w 2448"/>
                  <a:gd name="T83" fmla="*/ 1461 h 2705"/>
                  <a:gd name="T84" fmla="*/ 997 w 2448"/>
                  <a:gd name="T85" fmla="*/ 1408 h 2705"/>
                  <a:gd name="T86" fmla="*/ 2175 w 2448"/>
                  <a:gd name="T87" fmla="*/ 694 h 2705"/>
                  <a:gd name="T88" fmla="*/ 2263 w 2448"/>
                  <a:gd name="T89" fmla="*/ 643 h 2705"/>
                  <a:gd name="T90" fmla="*/ 1060 w 2448"/>
                  <a:gd name="T91" fmla="*/ 1402 h 2705"/>
                  <a:gd name="T92" fmla="*/ 1417 w 2448"/>
                  <a:gd name="T93" fmla="*/ 1134 h 2705"/>
                  <a:gd name="T94" fmla="*/ 1417 w 2448"/>
                  <a:gd name="T95" fmla="*/ 1196 h 2705"/>
                  <a:gd name="T96" fmla="*/ 2 w 2448"/>
                  <a:gd name="T97" fmla="*/ 1383 h 2705"/>
                  <a:gd name="T98" fmla="*/ 2 w 2448"/>
                  <a:gd name="T99" fmla="*/ 1382 h 2705"/>
                  <a:gd name="T100" fmla="*/ 2 w 2448"/>
                  <a:gd name="T101" fmla="*/ 1383 h 2705"/>
                  <a:gd name="T102" fmla="*/ 0 w 2448"/>
                  <a:gd name="T103" fmla="*/ 1364 h 2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448" h="2705">
                    <a:moveTo>
                      <a:pt x="1836" y="2705"/>
                    </a:moveTo>
                    <a:lnTo>
                      <a:pt x="1422" y="2408"/>
                    </a:lnTo>
                    <a:lnTo>
                      <a:pt x="1479" y="2375"/>
                    </a:lnTo>
                    <a:lnTo>
                      <a:pt x="1479" y="2317"/>
                    </a:lnTo>
                    <a:lnTo>
                      <a:pt x="1377" y="2376"/>
                    </a:lnTo>
                    <a:lnTo>
                      <a:pt x="1332" y="2343"/>
                    </a:lnTo>
                    <a:lnTo>
                      <a:pt x="1478" y="2259"/>
                    </a:lnTo>
                    <a:lnTo>
                      <a:pt x="1478" y="2201"/>
                    </a:lnTo>
                    <a:lnTo>
                      <a:pt x="1287" y="2311"/>
                    </a:lnTo>
                    <a:lnTo>
                      <a:pt x="1242" y="2279"/>
                    </a:lnTo>
                    <a:lnTo>
                      <a:pt x="1478" y="2143"/>
                    </a:lnTo>
                    <a:lnTo>
                      <a:pt x="1478" y="2085"/>
                    </a:lnTo>
                    <a:lnTo>
                      <a:pt x="1198" y="2247"/>
                    </a:lnTo>
                    <a:lnTo>
                      <a:pt x="731" y="1912"/>
                    </a:lnTo>
                    <a:cubicBezTo>
                      <a:pt x="733" y="1895"/>
                      <a:pt x="734" y="1878"/>
                      <a:pt x="734" y="1861"/>
                    </a:cubicBezTo>
                    <a:lnTo>
                      <a:pt x="734" y="1860"/>
                    </a:lnTo>
                    <a:cubicBezTo>
                      <a:pt x="733" y="1729"/>
                      <a:pt x="671" y="1651"/>
                      <a:pt x="580" y="1642"/>
                    </a:cubicBezTo>
                    <a:lnTo>
                      <a:pt x="579" y="1643"/>
                    </a:lnTo>
                    <a:lnTo>
                      <a:pt x="579" y="1643"/>
                    </a:lnTo>
                    <a:lnTo>
                      <a:pt x="579" y="1643"/>
                    </a:lnTo>
                    <a:cubicBezTo>
                      <a:pt x="574" y="1642"/>
                      <a:pt x="569" y="1642"/>
                      <a:pt x="563" y="1642"/>
                    </a:cubicBezTo>
                    <a:cubicBezTo>
                      <a:pt x="522" y="1642"/>
                      <a:pt x="475" y="1656"/>
                      <a:pt x="425" y="1684"/>
                    </a:cubicBezTo>
                    <a:cubicBezTo>
                      <a:pt x="423" y="1686"/>
                      <a:pt x="421" y="1687"/>
                      <a:pt x="419" y="1688"/>
                    </a:cubicBezTo>
                    <a:lnTo>
                      <a:pt x="24" y="1405"/>
                    </a:lnTo>
                    <a:lnTo>
                      <a:pt x="2448" y="0"/>
                    </a:lnTo>
                    <a:lnTo>
                      <a:pt x="2448" y="2352"/>
                    </a:lnTo>
                    <a:lnTo>
                      <a:pt x="1836" y="2705"/>
                    </a:lnTo>
                    <a:moveTo>
                      <a:pt x="1813" y="2124"/>
                    </a:moveTo>
                    <a:lnTo>
                      <a:pt x="1653" y="2217"/>
                    </a:lnTo>
                    <a:lnTo>
                      <a:pt x="1653" y="2275"/>
                    </a:lnTo>
                    <a:lnTo>
                      <a:pt x="1813" y="2182"/>
                    </a:lnTo>
                    <a:lnTo>
                      <a:pt x="1813" y="2124"/>
                    </a:lnTo>
                    <a:close/>
                    <a:moveTo>
                      <a:pt x="2266" y="1746"/>
                    </a:moveTo>
                    <a:lnTo>
                      <a:pt x="1652" y="2100"/>
                    </a:lnTo>
                    <a:lnTo>
                      <a:pt x="1653" y="2158"/>
                    </a:lnTo>
                    <a:lnTo>
                      <a:pt x="2266" y="1804"/>
                    </a:lnTo>
                    <a:lnTo>
                      <a:pt x="2266" y="1746"/>
                    </a:lnTo>
                    <a:close/>
                    <a:moveTo>
                      <a:pt x="2266" y="1862"/>
                    </a:moveTo>
                    <a:lnTo>
                      <a:pt x="1894" y="2077"/>
                    </a:lnTo>
                    <a:lnTo>
                      <a:pt x="1894" y="2135"/>
                    </a:lnTo>
                    <a:lnTo>
                      <a:pt x="2266" y="1921"/>
                    </a:lnTo>
                    <a:lnTo>
                      <a:pt x="2266" y="1862"/>
                    </a:lnTo>
                    <a:close/>
                    <a:moveTo>
                      <a:pt x="973" y="1928"/>
                    </a:moveTo>
                    <a:cubicBezTo>
                      <a:pt x="967" y="1928"/>
                      <a:pt x="959" y="1930"/>
                      <a:pt x="952" y="1934"/>
                    </a:cubicBezTo>
                    <a:cubicBezTo>
                      <a:pt x="926" y="1949"/>
                      <a:pt x="905" y="1985"/>
                      <a:pt x="906" y="2015"/>
                    </a:cubicBezTo>
                    <a:cubicBezTo>
                      <a:pt x="906" y="2035"/>
                      <a:pt x="916" y="2048"/>
                      <a:pt x="931" y="2048"/>
                    </a:cubicBezTo>
                    <a:cubicBezTo>
                      <a:pt x="938" y="2048"/>
                      <a:pt x="945" y="2045"/>
                      <a:pt x="952" y="2041"/>
                    </a:cubicBezTo>
                    <a:cubicBezTo>
                      <a:pt x="978" y="2026"/>
                      <a:pt x="999" y="1990"/>
                      <a:pt x="999" y="1961"/>
                    </a:cubicBezTo>
                    <a:cubicBezTo>
                      <a:pt x="999" y="1940"/>
                      <a:pt x="988" y="1928"/>
                      <a:pt x="973" y="1928"/>
                    </a:cubicBezTo>
                    <a:moveTo>
                      <a:pt x="1886" y="1849"/>
                    </a:moveTo>
                    <a:lnTo>
                      <a:pt x="1652" y="1984"/>
                    </a:lnTo>
                    <a:lnTo>
                      <a:pt x="1652" y="2042"/>
                    </a:lnTo>
                    <a:lnTo>
                      <a:pt x="1886" y="1907"/>
                    </a:lnTo>
                    <a:lnTo>
                      <a:pt x="1886" y="1849"/>
                    </a:lnTo>
                    <a:close/>
                    <a:moveTo>
                      <a:pt x="1214" y="1806"/>
                    </a:moveTo>
                    <a:lnTo>
                      <a:pt x="1061" y="1894"/>
                    </a:lnTo>
                    <a:lnTo>
                      <a:pt x="1061" y="1955"/>
                    </a:lnTo>
                    <a:lnTo>
                      <a:pt x="1214" y="1867"/>
                    </a:lnTo>
                    <a:lnTo>
                      <a:pt x="1214" y="1806"/>
                    </a:lnTo>
                    <a:close/>
                    <a:moveTo>
                      <a:pt x="2084" y="1619"/>
                    </a:moveTo>
                    <a:lnTo>
                      <a:pt x="1652" y="1868"/>
                    </a:lnTo>
                    <a:lnTo>
                      <a:pt x="1652" y="1926"/>
                    </a:lnTo>
                    <a:lnTo>
                      <a:pt x="2084" y="1677"/>
                    </a:lnTo>
                    <a:lnTo>
                      <a:pt x="2084" y="1619"/>
                    </a:lnTo>
                    <a:close/>
                    <a:moveTo>
                      <a:pt x="2265" y="1630"/>
                    </a:moveTo>
                    <a:lnTo>
                      <a:pt x="1952" y="1811"/>
                    </a:lnTo>
                    <a:lnTo>
                      <a:pt x="1952" y="1869"/>
                    </a:lnTo>
                    <a:lnTo>
                      <a:pt x="2266" y="1688"/>
                    </a:lnTo>
                    <a:lnTo>
                      <a:pt x="2265" y="1630"/>
                    </a:lnTo>
                    <a:close/>
                    <a:moveTo>
                      <a:pt x="972" y="1743"/>
                    </a:moveTo>
                    <a:cubicBezTo>
                      <a:pt x="966" y="1743"/>
                      <a:pt x="959" y="1745"/>
                      <a:pt x="951" y="1750"/>
                    </a:cubicBezTo>
                    <a:cubicBezTo>
                      <a:pt x="926" y="1765"/>
                      <a:pt x="905" y="1801"/>
                      <a:pt x="905" y="1830"/>
                    </a:cubicBezTo>
                    <a:cubicBezTo>
                      <a:pt x="905" y="1851"/>
                      <a:pt x="916" y="1863"/>
                      <a:pt x="931" y="1863"/>
                    </a:cubicBezTo>
                    <a:cubicBezTo>
                      <a:pt x="937" y="1863"/>
                      <a:pt x="944" y="1861"/>
                      <a:pt x="952" y="1857"/>
                    </a:cubicBezTo>
                    <a:cubicBezTo>
                      <a:pt x="977" y="1842"/>
                      <a:pt x="998" y="1806"/>
                      <a:pt x="998" y="1776"/>
                    </a:cubicBezTo>
                    <a:cubicBezTo>
                      <a:pt x="998" y="1756"/>
                      <a:pt x="988" y="1743"/>
                      <a:pt x="972" y="1743"/>
                    </a:cubicBezTo>
                    <a:moveTo>
                      <a:pt x="1477" y="1654"/>
                    </a:moveTo>
                    <a:lnTo>
                      <a:pt x="1256" y="1781"/>
                    </a:lnTo>
                    <a:lnTo>
                      <a:pt x="1257" y="1843"/>
                    </a:lnTo>
                    <a:lnTo>
                      <a:pt x="1477" y="1716"/>
                    </a:lnTo>
                    <a:lnTo>
                      <a:pt x="1477" y="1654"/>
                    </a:lnTo>
                    <a:close/>
                    <a:moveTo>
                      <a:pt x="2265" y="1427"/>
                    </a:moveTo>
                    <a:lnTo>
                      <a:pt x="1652" y="1781"/>
                    </a:lnTo>
                    <a:lnTo>
                      <a:pt x="1652" y="1811"/>
                    </a:lnTo>
                    <a:lnTo>
                      <a:pt x="2265" y="1457"/>
                    </a:lnTo>
                    <a:lnTo>
                      <a:pt x="2265" y="1427"/>
                    </a:lnTo>
                    <a:close/>
                    <a:moveTo>
                      <a:pt x="1342" y="1547"/>
                    </a:moveTo>
                    <a:lnTo>
                      <a:pt x="1061" y="1710"/>
                    </a:lnTo>
                    <a:lnTo>
                      <a:pt x="1061" y="1771"/>
                    </a:lnTo>
                    <a:lnTo>
                      <a:pt x="1342" y="1609"/>
                    </a:lnTo>
                    <a:lnTo>
                      <a:pt x="1342" y="1547"/>
                    </a:lnTo>
                    <a:close/>
                    <a:moveTo>
                      <a:pt x="1739" y="1380"/>
                    </a:moveTo>
                    <a:lnTo>
                      <a:pt x="1651" y="1430"/>
                    </a:lnTo>
                    <a:lnTo>
                      <a:pt x="1652" y="1737"/>
                    </a:lnTo>
                    <a:lnTo>
                      <a:pt x="1740" y="1687"/>
                    </a:lnTo>
                    <a:lnTo>
                      <a:pt x="1739" y="1380"/>
                    </a:lnTo>
                    <a:close/>
                    <a:moveTo>
                      <a:pt x="972" y="1559"/>
                    </a:moveTo>
                    <a:cubicBezTo>
                      <a:pt x="966" y="1559"/>
                      <a:pt x="958" y="1561"/>
                      <a:pt x="951" y="1565"/>
                    </a:cubicBezTo>
                    <a:cubicBezTo>
                      <a:pt x="925" y="1580"/>
                      <a:pt x="904" y="1616"/>
                      <a:pt x="905" y="1646"/>
                    </a:cubicBezTo>
                    <a:cubicBezTo>
                      <a:pt x="905" y="1667"/>
                      <a:pt x="915" y="1679"/>
                      <a:pt x="930" y="1679"/>
                    </a:cubicBezTo>
                    <a:cubicBezTo>
                      <a:pt x="937" y="1679"/>
                      <a:pt x="944" y="1677"/>
                      <a:pt x="951" y="1672"/>
                    </a:cubicBezTo>
                    <a:cubicBezTo>
                      <a:pt x="977" y="1658"/>
                      <a:pt x="998" y="1622"/>
                      <a:pt x="998" y="1592"/>
                    </a:cubicBezTo>
                    <a:cubicBezTo>
                      <a:pt x="998" y="1571"/>
                      <a:pt x="987" y="1559"/>
                      <a:pt x="972" y="1559"/>
                    </a:cubicBezTo>
                    <a:moveTo>
                      <a:pt x="1869" y="1088"/>
                    </a:moveTo>
                    <a:lnTo>
                      <a:pt x="1782" y="1139"/>
                    </a:lnTo>
                    <a:lnTo>
                      <a:pt x="1783" y="1661"/>
                    </a:lnTo>
                    <a:lnTo>
                      <a:pt x="1871" y="1611"/>
                    </a:lnTo>
                    <a:lnTo>
                      <a:pt x="1869" y="1088"/>
                    </a:lnTo>
                    <a:close/>
                    <a:moveTo>
                      <a:pt x="1254" y="1413"/>
                    </a:moveTo>
                    <a:lnTo>
                      <a:pt x="1060" y="1525"/>
                    </a:lnTo>
                    <a:lnTo>
                      <a:pt x="1060" y="1587"/>
                    </a:lnTo>
                    <a:lnTo>
                      <a:pt x="1254" y="1475"/>
                    </a:lnTo>
                    <a:lnTo>
                      <a:pt x="1254" y="1413"/>
                    </a:lnTo>
                    <a:close/>
                    <a:moveTo>
                      <a:pt x="2001" y="1100"/>
                    </a:moveTo>
                    <a:lnTo>
                      <a:pt x="1913" y="1150"/>
                    </a:lnTo>
                    <a:lnTo>
                      <a:pt x="1915" y="1586"/>
                    </a:lnTo>
                    <a:lnTo>
                      <a:pt x="2002" y="1535"/>
                    </a:lnTo>
                    <a:lnTo>
                      <a:pt x="2001" y="1100"/>
                    </a:lnTo>
                    <a:moveTo>
                      <a:pt x="2132" y="828"/>
                    </a:moveTo>
                    <a:lnTo>
                      <a:pt x="2044" y="878"/>
                    </a:lnTo>
                    <a:lnTo>
                      <a:pt x="2046" y="1510"/>
                    </a:lnTo>
                    <a:lnTo>
                      <a:pt x="2133" y="1459"/>
                    </a:lnTo>
                    <a:lnTo>
                      <a:pt x="2132" y="828"/>
                    </a:lnTo>
                    <a:close/>
                    <a:moveTo>
                      <a:pt x="971" y="1375"/>
                    </a:moveTo>
                    <a:cubicBezTo>
                      <a:pt x="965" y="1375"/>
                      <a:pt x="958" y="1377"/>
                      <a:pt x="950" y="1381"/>
                    </a:cubicBezTo>
                    <a:cubicBezTo>
                      <a:pt x="925" y="1396"/>
                      <a:pt x="904" y="1432"/>
                      <a:pt x="904" y="1461"/>
                    </a:cubicBezTo>
                    <a:cubicBezTo>
                      <a:pt x="904" y="1482"/>
                      <a:pt x="915" y="1494"/>
                      <a:pt x="930" y="1494"/>
                    </a:cubicBezTo>
                    <a:cubicBezTo>
                      <a:pt x="936" y="1494"/>
                      <a:pt x="943" y="1492"/>
                      <a:pt x="951" y="1488"/>
                    </a:cubicBezTo>
                    <a:cubicBezTo>
                      <a:pt x="976" y="1473"/>
                      <a:pt x="997" y="1437"/>
                      <a:pt x="997" y="1408"/>
                    </a:cubicBezTo>
                    <a:cubicBezTo>
                      <a:pt x="997" y="1387"/>
                      <a:pt x="987" y="1375"/>
                      <a:pt x="971" y="1375"/>
                    </a:cubicBezTo>
                    <a:close/>
                    <a:moveTo>
                      <a:pt x="2263" y="643"/>
                    </a:moveTo>
                    <a:lnTo>
                      <a:pt x="2175" y="694"/>
                    </a:lnTo>
                    <a:lnTo>
                      <a:pt x="2177" y="1434"/>
                    </a:lnTo>
                    <a:lnTo>
                      <a:pt x="2265" y="1384"/>
                    </a:lnTo>
                    <a:lnTo>
                      <a:pt x="2263" y="643"/>
                    </a:lnTo>
                    <a:close/>
                    <a:moveTo>
                      <a:pt x="1213" y="1252"/>
                    </a:moveTo>
                    <a:lnTo>
                      <a:pt x="1059" y="1341"/>
                    </a:lnTo>
                    <a:lnTo>
                      <a:pt x="1060" y="1402"/>
                    </a:lnTo>
                    <a:lnTo>
                      <a:pt x="1213" y="1314"/>
                    </a:lnTo>
                    <a:lnTo>
                      <a:pt x="1213" y="1252"/>
                    </a:lnTo>
                    <a:close/>
                    <a:moveTo>
                      <a:pt x="1417" y="1134"/>
                    </a:moveTo>
                    <a:lnTo>
                      <a:pt x="1264" y="1223"/>
                    </a:lnTo>
                    <a:lnTo>
                      <a:pt x="1264" y="1284"/>
                    </a:lnTo>
                    <a:lnTo>
                      <a:pt x="1417" y="1196"/>
                    </a:lnTo>
                    <a:lnTo>
                      <a:pt x="1417" y="1134"/>
                    </a:lnTo>
                    <a:moveTo>
                      <a:pt x="2" y="1383"/>
                    </a:moveTo>
                    <a:lnTo>
                      <a:pt x="2" y="1383"/>
                    </a:lnTo>
                    <a:lnTo>
                      <a:pt x="2" y="1383"/>
                    </a:lnTo>
                    <a:close/>
                    <a:moveTo>
                      <a:pt x="2" y="1383"/>
                    </a:moveTo>
                    <a:lnTo>
                      <a:pt x="2" y="1382"/>
                    </a:lnTo>
                    <a:cubicBezTo>
                      <a:pt x="2" y="1382"/>
                      <a:pt x="2" y="1381"/>
                      <a:pt x="2" y="1381"/>
                    </a:cubicBezTo>
                    <a:cubicBezTo>
                      <a:pt x="2" y="1381"/>
                      <a:pt x="2" y="1382"/>
                      <a:pt x="2" y="1382"/>
                    </a:cubicBezTo>
                    <a:lnTo>
                      <a:pt x="2" y="1383"/>
                    </a:lnTo>
                    <a:close/>
                    <a:moveTo>
                      <a:pt x="1" y="1366"/>
                    </a:moveTo>
                    <a:cubicBezTo>
                      <a:pt x="1" y="1365"/>
                      <a:pt x="0" y="1364"/>
                      <a:pt x="0" y="1364"/>
                    </a:cubicBezTo>
                    <a:lnTo>
                      <a:pt x="0" y="1364"/>
                    </a:lnTo>
                    <a:cubicBezTo>
                      <a:pt x="0" y="1364"/>
                      <a:pt x="1" y="1365"/>
                      <a:pt x="1" y="1366"/>
                    </a:cubicBez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 139"/>
              <p:cNvSpPr>
                <a:spLocks/>
              </p:cNvSpPr>
              <p:nvPr/>
            </p:nvSpPr>
            <p:spPr bwMode="auto">
              <a:xfrm>
                <a:off x="2226" y="1098"/>
                <a:ext cx="25" cy="28"/>
              </a:xfrm>
              <a:custGeom>
                <a:avLst/>
                <a:gdLst>
                  <a:gd name="T0" fmla="*/ 52 w 52"/>
                  <a:gd name="T1" fmla="*/ 60 h 60"/>
                  <a:gd name="T2" fmla="*/ 0 w 52"/>
                  <a:gd name="T3" fmla="*/ 23 h 60"/>
                  <a:gd name="T4" fmla="*/ 40 w 52"/>
                  <a:gd name="T5" fmla="*/ 0 h 60"/>
                  <a:gd name="T6" fmla="*/ 43 w 52"/>
                  <a:gd name="T7" fmla="*/ 6 h 60"/>
                  <a:gd name="T8" fmla="*/ 43 w 52"/>
                  <a:gd name="T9" fmla="*/ 7 h 60"/>
                  <a:gd name="T10" fmla="*/ 46 w 52"/>
                  <a:gd name="T11" fmla="*/ 16 h 60"/>
                  <a:gd name="T12" fmla="*/ 46 w 52"/>
                  <a:gd name="T13" fmla="*/ 16 h 60"/>
                  <a:gd name="T14" fmla="*/ 48 w 52"/>
                  <a:gd name="T15" fmla="*/ 25 h 60"/>
                  <a:gd name="T16" fmla="*/ 49 w 52"/>
                  <a:gd name="T17" fmla="*/ 26 h 60"/>
                  <a:gd name="T18" fmla="*/ 50 w 52"/>
                  <a:gd name="T19" fmla="*/ 35 h 60"/>
                  <a:gd name="T20" fmla="*/ 50 w 52"/>
                  <a:gd name="T21" fmla="*/ 35 h 60"/>
                  <a:gd name="T22" fmla="*/ 51 w 52"/>
                  <a:gd name="T23" fmla="*/ 37 h 60"/>
                  <a:gd name="T24" fmla="*/ 51 w 52"/>
                  <a:gd name="T25" fmla="*/ 44 h 60"/>
                  <a:gd name="T26" fmla="*/ 51 w 52"/>
                  <a:gd name="T27" fmla="*/ 44 h 60"/>
                  <a:gd name="T28" fmla="*/ 52 w 52"/>
                  <a:gd name="T29" fmla="*/ 52 h 60"/>
                  <a:gd name="T30" fmla="*/ 52 w 52"/>
                  <a:gd name="T31" fmla="*/ 53 h 60"/>
                  <a:gd name="T32" fmla="*/ 52 w 52"/>
                  <a:gd name="T33" fmla="*/ 54 h 60"/>
                  <a:gd name="T34" fmla="*/ 52 w 52"/>
                  <a:gd name="T35" fmla="*/ 54 h 60"/>
                  <a:gd name="T36" fmla="*/ 52 w 52"/>
                  <a:gd name="T37" fmla="*/ 54 h 60"/>
                  <a:gd name="T38" fmla="*/ 52 w 52"/>
                  <a:gd name="T3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" h="60">
                    <a:moveTo>
                      <a:pt x="52" y="60"/>
                    </a:moveTo>
                    <a:lnTo>
                      <a:pt x="0" y="23"/>
                    </a:lnTo>
                    <a:lnTo>
                      <a:pt x="40" y="0"/>
                    </a:lnTo>
                    <a:cubicBezTo>
                      <a:pt x="41" y="2"/>
                      <a:pt x="42" y="4"/>
                      <a:pt x="43" y="6"/>
                    </a:cubicBezTo>
                    <a:lnTo>
                      <a:pt x="43" y="7"/>
                    </a:lnTo>
                    <a:cubicBezTo>
                      <a:pt x="44" y="10"/>
                      <a:pt x="45" y="13"/>
                      <a:pt x="46" y="16"/>
                    </a:cubicBezTo>
                    <a:lnTo>
                      <a:pt x="46" y="16"/>
                    </a:lnTo>
                    <a:cubicBezTo>
                      <a:pt x="47" y="19"/>
                      <a:pt x="48" y="22"/>
                      <a:pt x="48" y="25"/>
                    </a:cubicBezTo>
                    <a:lnTo>
                      <a:pt x="49" y="26"/>
                    </a:lnTo>
                    <a:cubicBezTo>
                      <a:pt x="49" y="29"/>
                      <a:pt x="50" y="32"/>
                      <a:pt x="50" y="35"/>
                    </a:cubicBezTo>
                    <a:lnTo>
                      <a:pt x="50" y="35"/>
                    </a:lnTo>
                    <a:cubicBezTo>
                      <a:pt x="50" y="35"/>
                      <a:pt x="51" y="36"/>
                      <a:pt x="51" y="37"/>
                    </a:cubicBezTo>
                    <a:cubicBezTo>
                      <a:pt x="51" y="39"/>
                      <a:pt x="51" y="41"/>
                      <a:pt x="51" y="44"/>
                    </a:cubicBezTo>
                    <a:lnTo>
                      <a:pt x="51" y="44"/>
                    </a:lnTo>
                    <a:cubicBezTo>
                      <a:pt x="52" y="47"/>
                      <a:pt x="52" y="49"/>
                      <a:pt x="52" y="52"/>
                    </a:cubicBezTo>
                    <a:cubicBezTo>
                      <a:pt x="52" y="52"/>
                      <a:pt x="52" y="53"/>
                      <a:pt x="52" y="53"/>
                    </a:cubicBez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cubicBezTo>
                      <a:pt x="52" y="56"/>
                      <a:pt x="52" y="58"/>
                      <a:pt x="52" y="60"/>
                    </a:cubicBezTo>
                    <a:close/>
                  </a:path>
                </a:pathLst>
              </a:custGeom>
              <a:solidFill>
                <a:srgbClr val="3934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 140"/>
              <p:cNvSpPr>
                <a:spLocks/>
              </p:cNvSpPr>
              <p:nvPr/>
            </p:nvSpPr>
            <p:spPr bwMode="auto">
              <a:xfrm>
                <a:off x="2245" y="411"/>
                <a:ext cx="1200" cy="723"/>
              </a:xfrm>
              <a:custGeom>
                <a:avLst/>
                <a:gdLst>
                  <a:gd name="T0" fmla="*/ 34 w 2498"/>
                  <a:gd name="T1" fmla="*/ 1506 h 1506"/>
                  <a:gd name="T2" fmla="*/ 12 w 2498"/>
                  <a:gd name="T3" fmla="*/ 1490 h 1506"/>
                  <a:gd name="T4" fmla="*/ 12 w 2498"/>
                  <a:gd name="T5" fmla="*/ 1484 h 1506"/>
                  <a:gd name="T6" fmla="*/ 12 w 2498"/>
                  <a:gd name="T7" fmla="*/ 1484 h 1506"/>
                  <a:gd name="T8" fmla="*/ 12 w 2498"/>
                  <a:gd name="T9" fmla="*/ 1484 h 1506"/>
                  <a:gd name="T10" fmla="*/ 12 w 2498"/>
                  <a:gd name="T11" fmla="*/ 1483 h 1506"/>
                  <a:gd name="T12" fmla="*/ 12 w 2498"/>
                  <a:gd name="T13" fmla="*/ 1482 h 1506"/>
                  <a:gd name="T14" fmla="*/ 11 w 2498"/>
                  <a:gd name="T15" fmla="*/ 1474 h 1506"/>
                  <a:gd name="T16" fmla="*/ 11 w 2498"/>
                  <a:gd name="T17" fmla="*/ 1474 h 1506"/>
                  <a:gd name="T18" fmla="*/ 11 w 2498"/>
                  <a:gd name="T19" fmla="*/ 1467 h 1506"/>
                  <a:gd name="T20" fmla="*/ 10 w 2498"/>
                  <a:gd name="T21" fmla="*/ 1465 h 1506"/>
                  <a:gd name="T22" fmla="*/ 10 w 2498"/>
                  <a:gd name="T23" fmla="*/ 1465 h 1506"/>
                  <a:gd name="T24" fmla="*/ 10 w 2498"/>
                  <a:gd name="T25" fmla="*/ 1465 h 1506"/>
                  <a:gd name="T26" fmla="*/ 9 w 2498"/>
                  <a:gd name="T27" fmla="*/ 1456 h 1506"/>
                  <a:gd name="T28" fmla="*/ 8 w 2498"/>
                  <a:gd name="T29" fmla="*/ 1455 h 1506"/>
                  <a:gd name="T30" fmla="*/ 6 w 2498"/>
                  <a:gd name="T31" fmla="*/ 1446 h 1506"/>
                  <a:gd name="T32" fmla="*/ 6 w 2498"/>
                  <a:gd name="T33" fmla="*/ 1446 h 1506"/>
                  <a:gd name="T34" fmla="*/ 3 w 2498"/>
                  <a:gd name="T35" fmla="*/ 1437 h 1506"/>
                  <a:gd name="T36" fmla="*/ 3 w 2498"/>
                  <a:gd name="T37" fmla="*/ 1436 h 1506"/>
                  <a:gd name="T38" fmla="*/ 0 w 2498"/>
                  <a:gd name="T39" fmla="*/ 1430 h 1506"/>
                  <a:gd name="T40" fmla="*/ 2458 w 2498"/>
                  <a:gd name="T41" fmla="*/ 0 h 1506"/>
                  <a:gd name="T42" fmla="*/ 2498 w 2498"/>
                  <a:gd name="T43" fmla="*/ 78 h 1506"/>
                  <a:gd name="T44" fmla="*/ 2458 w 2498"/>
                  <a:gd name="T45" fmla="*/ 101 h 1506"/>
                  <a:gd name="T46" fmla="*/ 34 w 2498"/>
                  <a:gd name="T47" fmla="*/ 1506 h 1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98" h="1506">
                    <a:moveTo>
                      <a:pt x="34" y="1506"/>
                    </a:moveTo>
                    <a:lnTo>
                      <a:pt x="12" y="1490"/>
                    </a:lnTo>
                    <a:cubicBezTo>
                      <a:pt x="12" y="1488"/>
                      <a:pt x="12" y="1486"/>
                      <a:pt x="12" y="1484"/>
                    </a:cubicBezTo>
                    <a:lnTo>
                      <a:pt x="12" y="1484"/>
                    </a:lnTo>
                    <a:lnTo>
                      <a:pt x="12" y="1484"/>
                    </a:lnTo>
                    <a:lnTo>
                      <a:pt x="12" y="1483"/>
                    </a:lnTo>
                    <a:cubicBezTo>
                      <a:pt x="12" y="1483"/>
                      <a:pt x="12" y="1482"/>
                      <a:pt x="12" y="1482"/>
                    </a:cubicBezTo>
                    <a:cubicBezTo>
                      <a:pt x="12" y="1479"/>
                      <a:pt x="12" y="1477"/>
                      <a:pt x="11" y="1474"/>
                    </a:cubicBezTo>
                    <a:lnTo>
                      <a:pt x="11" y="1474"/>
                    </a:lnTo>
                    <a:cubicBezTo>
                      <a:pt x="11" y="1471"/>
                      <a:pt x="11" y="1469"/>
                      <a:pt x="11" y="1467"/>
                    </a:cubicBezTo>
                    <a:cubicBezTo>
                      <a:pt x="11" y="1466"/>
                      <a:pt x="10" y="1465"/>
                      <a:pt x="10" y="1465"/>
                    </a:cubicBezTo>
                    <a:lnTo>
                      <a:pt x="10" y="1465"/>
                    </a:lnTo>
                    <a:lnTo>
                      <a:pt x="10" y="1465"/>
                    </a:lnTo>
                    <a:cubicBezTo>
                      <a:pt x="10" y="1462"/>
                      <a:pt x="9" y="1459"/>
                      <a:pt x="9" y="1456"/>
                    </a:cubicBezTo>
                    <a:lnTo>
                      <a:pt x="8" y="1455"/>
                    </a:lnTo>
                    <a:cubicBezTo>
                      <a:pt x="8" y="1452"/>
                      <a:pt x="7" y="1449"/>
                      <a:pt x="6" y="1446"/>
                    </a:cubicBezTo>
                    <a:lnTo>
                      <a:pt x="6" y="1446"/>
                    </a:lnTo>
                    <a:cubicBezTo>
                      <a:pt x="5" y="1443"/>
                      <a:pt x="4" y="1440"/>
                      <a:pt x="3" y="1437"/>
                    </a:cubicBezTo>
                    <a:lnTo>
                      <a:pt x="3" y="1436"/>
                    </a:lnTo>
                    <a:cubicBezTo>
                      <a:pt x="2" y="1434"/>
                      <a:pt x="1" y="1432"/>
                      <a:pt x="0" y="1430"/>
                    </a:cubicBezTo>
                    <a:lnTo>
                      <a:pt x="2458" y="0"/>
                    </a:lnTo>
                    <a:lnTo>
                      <a:pt x="2498" y="78"/>
                    </a:lnTo>
                    <a:lnTo>
                      <a:pt x="2458" y="101"/>
                    </a:lnTo>
                    <a:lnTo>
                      <a:pt x="34" y="1506"/>
                    </a:ln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 141"/>
              <p:cNvSpPr>
                <a:spLocks/>
              </p:cNvSpPr>
              <p:nvPr/>
            </p:nvSpPr>
            <p:spPr bwMode="auto">
              <a:xfrm>
                <a:off x="2451" y="1248"/>
                <a:ext cx="77" cy="60"/>
              </a:xfrm>
              <a:custGeom>
                <a:avLst/>
                <a:gdLst>
                  <a:gd name="T0" fmla="*/ 111 w 160"/>
                  <a:gd name="T1" fmla="*/ 126 h 126"/>
                  <a:gd name="T2" fmla="*/ 0 w 160"/>
                  <a:gd name="T3" fmla="*/ 46 h 126"/>
                  <a:gd name="T4" fmla="*/ 6 w 160"/>
                  <a:gd name="T5" fmla="*/ 42 h 126"/>
                  <a:gd name="T6" fmla="*/ 144 w 160"/>
                  <a:gd name="T7" fmla="*/ 0 h 126"/>
                  <a:gd name="T8" fmla="*/ 160 w 160"/>
                  <a:gd name="T9" fmla="*/ 1 h 126"/>
                  <a:gd name="T10" fmla="*/ 160 w 160"/>
                  <a:gd name="T11" fmla="*/ 1 h 126"/>
                  <a:gd name="T12" fmla="*/ 159 w 160"/>
                  <a:gd name="T13" fmla="*/ 2 h 126"/>
                  <a:gd name="T14" fmla="*/ 111 w 160"/>
                  <a:gd name="T15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0" h="126">
                    <a:moveTo>
                      <a:pt x="111" y="126"/>
                    </a:moveTo>
                    <a:lnTo>
                      <a:pt x="0" y="46"/>
                    </a:lnTo>
                    <a:cubicBezTo>
                      <a:pt x="2" y="45"/>
                      <a:pt x="4" y="44"/>
                      <a:pt x="6" y="42"/>
                    </a:cubicBezTo>
                    <a:cubicBezTo>
                      <a:pt x="56" y="14"/>
                      <a:pt x="103" y="0"/>
                      <a:pt x="144" y="0"/>
                    </a:cubicBezTo>
                    <a:cubicBezTo>
                      <a:pt x="150" y="0"/>
                      <a:pt x="155" y="0"/>
                      <a:pt x="160" y="1"/>
                    </a:cubicBezTo>
                    <a:lnTo>
                      <a:pt x="160" y="1"/>
                    </a:lnTo>
                    <a:lnTo>
                      <a:pt x="159" y="2"/>
                    </a:lnTo>
                    <a:lnTo>
                      <a:pt x="111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 142"/>
              <p:cNvSpPr>
                <a:spLocks/>
              </p:cNvSpPr>
              <p:nvPr/>
            </p:nvSpPr>
            <p:spPr bwMode="auto">
              <a:xfrm>
                <a:off x="2825" y="1461"/>
                <a:ext cx="135" cy="93"/>
              </a:xfrm>
              <a:custGeom>
                <a:avLst/>
                <a:gdLst>
                  <a:gd name="T0" fmla="*/ 22 w 135"/>
                  <a:gd name="T1" fmla="*/ 93 h 93"/>
                  <a:gd name="T2" fmla="*/ 0 w 135"/>
                  <a:gd name="T3" fmla="*/ 77 h 93"/>
                  <a:gd name="T4" fmla="*/ 135 w 135"/>
                  <a:gd name="T5" fmla="*/ 0 h 93"/>
                  <a:gd name="T6" fmla="*/ 135 w 135"/>
                  <a:gd name="T7" fmla="*/ 27 h 93"/>
                  <a:gd name="T8" fmla="*/ 22 w 135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93">
                    <a:moveTo>
                      <a:pt x="22" y="93"/>
                    </a:moveTo>
                    <a:lnTo>
                      <a:pt x="0" y="77"/>
                    </a:lnTo>
                    <a:lnTo>
                      <a:pt x="135" y="0"/>
                    </a:lnTo>
                    <a:lnTo>
                      <a:pt x="135" y="27"/>
                    </a:lnTo>
                    <a:lnTo>
                      <a:pt x="22" y="9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 143"/>
              <p:cNvSpPr>
                <a:spLocks/>
              </p:cNvSpPr>
              <p:nvPr/>
            </p:nvSpPr>
            <p:spPr bwMode="auto">
              <a:xfrm>
                <a:off x="2505" y="1248"/>
                <a:ext cx="98" cy="129"/>
              </a:xfrm>
              <a:custGeom>
                <a:avLst/>
                <a:gdLst>
                  <a:gd name="T0" fmla="*/ 201 w 204"/>
                  <a:gd name="T1" fmla="*/ 270 h 270"/>
                  <a:gd name="T2" fmla="*/ 0 w 204"/>
                  <a:gd name="T3" fmla="*/ 126 h 270"/>
                  <a:gd name="T4" fmla="*/ 48 w 204"/>
                  <a:gd name="T5" fmla="*/ 3 h 270"/>
                  <a:gd name="T6" fmla="*/ 49 w 204"/>
                  <a:gd name="T7" fmla="*/ 1 h 270"/>
                  <a:gd name="T8" fmla="*/ 50 w 204"/>
                  <a:gd name="T9" fmla="*/ 0 h 270"/>
                  <a:gd name="T10" fmla="*/ 204 w 204"/>
                  <a:gd name="T11" fmla="*/ 218 h 270"/>
                  <a:gd name="T12" fmla="*/ 204 w 204"/>
                  <a:gd name="T13" fmla="*/ 219 h 270"/>
                  <a:gd name="T14" fmla="*/ 201 w 204"/>
                  <a:gd name="T1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4" h="270">
                    <a:moveTo>
                      <a:pt x="201" y="270"/>
                    </a:moveTo>
                    <a:lnTo>
                      <a:pt x="0" y="126"/>
                    </a:lnTo>
                    <a:lnTo>
                      <a:pt x="48" y="3"/>
                    </a:lnTo>
                    <a:lnTo>
                      <a:pt x="49" y="1"/>
                    </a:lnTo>
                    <a:lnTo>
                      <a:pt x="50" y="0"/>
                    </a:lnTo>
                    <a:cubicBezTo>
                      <a:pt x="141" y="9"/>
                      <a:pt x="203" y="87"/>
                      <a:pt x="204" y="218"/>
                    </a:cubicBezTo>
                    <a:lnTo>
                      <a:pt x="204" y="219"/>
                    </a:lnTo>
                    <a:cubicBezTo>
                      <a:pt x="204" y="236"/>
                      <a:pt x="203" y="253"/>
                      <a:pt x="201" y="270"/>
                    </a:cubicBez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 144"/>
              <p:cNvSpPr>
                <a:spLocks/>
              </p:cNvSpPr>
              <p:nvPr/>
            </p:nvSpPr>
            <p:spPr bwMode="auto">
              <a:xfrm>
                <a:off x="2505" y="1248"/>
                <a:ext cx="23" cy="60"/>
              </a:xfrm>
              <a:custGeom>
                <a:avLst/>
                <a:gdLst>
                  <a:gd name="T0" fmla="*/ 0 w 23"/>
                  <a:gd name="T1" fmla="*/ 60 h 60"/>
                  <a:gd name="T2" fmla="*/ 0 w 23"/>
                  <a:gd name="T3" fmla="*/ 60 h 60"/>
                  <a:gd name="T4" fmla="*/ 23 w 23"/>
                  <a:gd name="T5" fmla="*/ 1 h 60"/>
                  <a:gd name="T6" fmla="*/ 23 w 23"/>
                  <a:gd name="T7" fmla="*/ 0 h 60"/>
                  <a:gd name="T8" fmla="*/ 23 w 23"/>
                  <a:gd name="T9" fmla="*/ 1 h 60"/>
                  <a:gd name="T10" fmla="*/ 0 w 2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60">
                    <a:moveTo>
                      <a:pt x="0" y="60"/>
                    </a:moveTo>
                    <a:lnTo>
                      <a:pt x="0" y="60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23" y="1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B360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 145"/>
              <p:cNvSpPr>
                <a:spLocks/>
              </p:cNvSpPr>
              <p:nvPr/>
            </p:nvSpPr>
            <p:spPr bwMode="auto">
              <a:xfrm>
                <a:off x="2684" y="1120"/>
                <a:ext cx="45" cy="57"/>
              </a:xfrm>
              <a:custGeom>
                <a:avLst/>
                <a:gdLst>
                  <a:gd name="T0" fmla="*/ 26 w 93"/>
                  <a:gd name="T1" fmla="*/ 119 h 119"/>
                  <a:gd name="T2" fmla="*/ 0 w 93"/>
                  <a:gd name="T3" fmla="*/ 86 h 119"/>
                  <a:gd name="T4" fmla="*/ 46 w 93"/>
                  <a:gd name="T5" fmla="*/ 6 h 119"/>
                  <a:gd name="T6" fmla="*/ 67 w 93"/>
                  <a:gd name="T7" fmla="*/ 0 h 119"/>
                  <a:gd name="T8" fmla="*/ 93 w 93"/>
                  <a:gd name="T9" fmla="*/ 33 h 119"/>
                  <a:gd name="T10" fmla="*/ 47 w 93"/>
                  <a:gd name="T11" fmla="*/ 113 h 119"/>
                  <a:gd name="T12" fmla="*/ 26 w 93"/>
                  <a:gd name="T13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119">
                    <a:moveTo>
                      <a:pt x="26" y="119"/>
                    </a:moveTo>
                    <a:cubicBezTo>
                      <a:pt x="11" y="119"/>
                      <a:pt x="0" y="107"/>
                      <a:pt x="0" y="86"/>
                    </a:cubicBezTo>
                    <a:cubicBezTo>
                      <a:pt x="0" y="57"/>
                      <a:pt x="21" y="21"/>
                      <a:pt x="46" y="6"/>
                    </a:cubicBezTo>
                    <a:cubicBezTo>
                      <a:pt x="54" y="2"/>
                      <a:pt x="61" y="0"/>
                      <a:pt x="67" y="0"/>
                    </a:cubicBezTo>
                    <a:cubicBezTo>
                      <a:pt x="83" y="0"/>
                      <a:pt x="93" y="12"/>
                      <a:pt x="93" y="33"/>
                    </a:cubicBezTo>
                    <a:cubicBezTo>
                      <a:pt x="93" y="62"/>
                      <a:pt x="72" y="98"/>
                      <a:pt x="47" y="113"/>
                    </a:cubicBezTo>
                    <a:cubicBezTo>
                      <a:pt x="39" y="117"/>
                      <a:pt x="32" y="119"/>
                      <a:pt x="26" y="119"/>
                    </a:cubicBez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 146"/>
              <p:cNvSpPr>
                <a:spLocks/>
              </p:cNvSpPr>
              <p:nvPr/>
            </p:nvSpPr>
            <p:spPr bwMode="auto">
              <a:xfrm>
                <a:off x="2684" y="1208"/>
                <a:ext cx="45" cy="58"/>
              </a:xfrm>
              <a:custGeom>
                <a:avLst/>
                <a:gdLst>
                  <a:gd name="T0" fmla="*/ 26 w 94"/>
                  <a:gd name="T1" fmla="*/ 120 h 120"/>
                  <a:gd name="T2" fmla="*/ 1 w 94"/>
                  <a:gd name="T3" fmla="*/ 87 h 120"/>
                  <a:gd name="T4" fmla="*/ 47 w 94"/>
                  <a:gd name="T5" fmla="*/ 6 h 120"/>
                  <a:gd name="T6" fmla="*/ 68 w 94"/>
                  <a:gd name="T7" fmla="*/ 0 h 120"/>
                  <a:gd name="T8" fmla="*/ 94 w 94"/>
                  <a:gd name="T9" fmla="*/ 33 h 120"/>
                  <a:gd name="T10" fmla="*/ 47 w 94"/>
                  <a:gd name="T11" fmla="*/ 113 h 120"/>
                  <a:gd name="T12" fmla="*/ 26 w 94"/>
                  <a:gd name="T1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120">
                    <a:moveTo>
                      <a:pt x="26" y="120"/>
                    </a:moveTo>
                    <a:cubicBezTo>
                      <a:pt x="11" y="120"/>
                      <a:pt x="1" y="108"/>
                      <a:pt x="1" y="87"/>
                    </a:cubicBezTo>
                    <a:cubicBezTo>
                      <a:pt x="0" y="57"/>
                      <a:pt x="21" y="21"/>
                      <a:pt x="47" y="6"/>
                    </a:cubicBezTo>
                    <a:cubicBezTo>
                      <a:pt x="54" y="2"/>
                      <a:pt x="62" y="0"/>
                      <a:pt x="68" y="0"/>
                    </a:cubicBezTo>
                    <a:cubicBezTo>
                      <a:pt x="83" y="0"/>
                      <a:pt x="94" y="12"/>
                      <a:pt x="94" y="33"/>
                    </a:cubicBezTo>
                    <a:cubicBezTo>
                      <a:pt x="94" y="63"/>
                      <a:pt x="73" y="99"/>
                      <a:pt x="47" y="113"/>
                    </a:cubicBezTo>
                    <a:cubicBezTo>
                      <a:pt x="40" y="118"/>
                      <a:pt x="33" y="120"/>
                      <a:pt x="26" y="120"/>
                    </a:cubicBezTo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 147"/>
              <p:cNvSpPr>
                <a:spLocks/>
              </p:cNvSpPr>
              <p:nvPr/>
            </p:nvSpPr>
            <p:spPr bwMode="auto">
              <a:xfrm>
                <a:off x="2685" y="1296"/>
                <a:ext cx="44" cy="58"/>
              </a:xfrm>
              <a:custGeom>
                <a:avLst/>
                <a:gdLst>
                  <a:gd name="T0" fmla="*/ 26 w 93"/>
                  <a:gd name="T1" fmla="*/ 120 h 120"/>
                  <a:gd name="T2" fmla="*/ 0 w 93"/>
                  <a:gd name="T3" fmla="*/ 87 h 120"/>
                  <a:gd name="T4" fmla="*/ 46 w 93"/>
                  <a:gd name="T5" fmla="*/ 7 h 120"/>
                  <a:gd name="T6" fmla="*/ 67 w 93"/>
                  <a:gd name="T7" fmla="*/ 0 h 120"/>
                  <a:gd name="T8" fmla="*/ 93 w 93"/>
                  <a:gd name="T9" fmla="*/ 33 h 120"/>
                  <a:gd name="T10" fmla="*/ 47 w 93"/>
                  <a:gd name="T11" fmla="*/ 114 h 120"/>
                  <a:gd name="T12" fmla="*/ 26 w 93"/>
                  <a:gd name="T1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120">
                    <a:moveTo>
                      <a:pt x="26" y="120"/>
                    </a:moveTo>
                    <a:cubicBezTo>
                      <a:pt x="11" y="120"/>
                      <a:pt x="0" y="108"/>
                      <a:pt x="0" y="87"/>
                    </a:cubicBezTo>
                    <a:cubicBezTo>
                      <a:pt x="0" y="58"/>
                      <a:pt x="21" y="22"/>
                      <a:pt x="46" y="7"/>
                    </a:cubicBezTo>
                    <a:cubicBezTo>
                      <a:pt x="54" y="2"/>
                      <a:pt x="61" y="0"/>
                      <a:pt x="67" y="0"/>
                    </a:cubicBezTo>
                    <a:cubicBezTo>
                      <a:pt x="83" y="0"/>
                      <a:pt x="93" y="13"/>
                      <a:pt x="93" y="33"/>
                    </a:cubicBezTo>
                    <a:cubicBezTo>
                      <a:pt x="93" y="63"/>
                      <a:pt x="72" y="99"/>
                      <a:pt x="47" y="114"/>
                    </a:cubicBezTo>
                    <a:cubicBezTo>
                      <a:pt x="39" y="118"/>
                      <a:pt x="32" y="120"/>
                      <a:pt x="26" y="120"/>
                    </a:cubicBezTo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 148"/>
              <p:cNvSpPr>
                <a:spLocks/>
              </p:cNvSpPr>
              <p:nvPr/>
            </p:nvSpPr>
            <p:spPr bwMode="auto">
              <a:xfrm>
                <a:off x="2685" y="1385"/>
                <a:ext cx="45" cy="58"/>
              </a:xfrm>
              <a:custGeom>
                <a:avLst/>
                <a:gdLst>
                  <a:gd name="T0" fmla="*/ 26 w 94"/>
                  <a:gd name="T1" fmla="*/ 120 h 120"/>
                  <a:gd name="T2" fmla="*/ 1 w 94"/>
                  <a:gd name="T3" fmla="*/ 87 h 120"/>
                  <a:gd name="T4" fmla="*/ 47 w 94"/>
                  <a:gd name="T5" fmla="*/ 6 h 120"/>
                  <a:gd name="T6" fmla="*/ 68 w 94"/>
                  <a:gd name="T7" fmla="*/ 0 h 120"/>
                  <a:gd name="T8" fmla="*/ 94 w 94"/>
                  <a:gd name="T9" fmla="*/ 33 h 120"/>
                  <a:gd name="T10" fmla="*/ 47 w 94"/>
                  <a:gd name="T11" fmla="*/ 113 h 120"/>
                  <a:gd name="T12" fmla="*/ 26 w 94"/>
                  <a:gd name="T1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120">
                    <a:moveTo>
                      <a:pt x="26" y="120"/>
                    </a:moveTo>
                    <a:cubicBezTo>
                      <a:pt x="11" y="120"/>
                      <a:pt x="1" y="107"/>
                      <a:pt x="1" y="87"/>
                    </a:cubicBezTo>
                    <a:cubicBezTo>
                      <a:pt x="0" y="57"/>
                      <a:pt x="21" y="21"/>
                      <a:pt x="47" y="6"/>
                    </a:cubicBezTo>
                    <a:cubicBezTo>
                      <a:pt x="54" y="2"/>
                      <a:pt x="62" y="0"/>
                      <a:pt x="68" y="0"/>
                    </a:cubicBezTo>
                    <a:cubicBezTo>
                      <a:pt x="83" y="0"/>
                      <a:pt x="94" y="12"/>
                      <a:pt x="94" y="33"/>
                    </a:cubicBezTo>
                    <a:cubicBezTo>
                      <a:pt x="94" y="62"/>
                      <a:pt x="73" y="98"/>
                      <a:pt x="47" y="113"/>
                    </a:cubicBezTo>
                    <a:cubicBezTo>
                      <a:pt x="40" y="117"/>
                      <a:pt x="33" y="120"/>
                      <a:pt x="26" y="120"/>
                    </a:cubicBezTo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 149"/>
              <p:cNvSpPr>
                <a:spLocks/>
              </p:cNvSpPr>
              <p:nvPr/>
            </p:nvSpPr>
            <p:spPr bwMode="auto">
              <a:xfrm>
                <a:off x="2759" y="1061"/>
                <a:ext cx="74" cy="72"/>
              </a:xfrm>
              <a:custGeom>
                <a:avLst/>
                <a:gdLst>
                  <a:gd name="T0" fmla="*/ 0 w 74"/>
                  <a:gd name="T1" fmla="*/ 72 h 72"/>
                  <a:gd name="T2" fmla="*/ 0 w 74"/>
                  <a:gd name="T3" fmla="*/ 42 h 72"/>
                  <a:gd name="T4" fmla="*/ 74 w 74"/>
                  <a:gd name="T5" fmla="*/ 0 h 72"/>
                  <a:gd name="T6" fmla="*/ 74 w 74"/>
                  <a:gd name="T7" fmla="*/ 29 h 72"/>
                  <a:gd name="T8" fmla="*/ 0 w 74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72">
                    <a:moveTo>
                      <a:pt x="0" y="72"/>
                    </a:moveTo>
                    <a:lnTo>
                      <a:pt x="0" y="42"/>
                    </a:lnTo>
                    <a:lnTo>
                      <a:pt x="74" y="0"/>
                    </a:lnTo>
                    <a:lnTo>
                      <a:pt x="74" y="29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 150"/>
              <p:cNvSpPr>
                <a:spLocks/>
              </p:cNvSpPr>
              <p:nvPr/>
            </p:nvSpPr>
            <p:spPr bwMode="auto">
              <a:xfrm>
                <a:off x="2857" y="1004"/>
                <a:ext cx="74" cy="72"/>
              </a:xfrm>
              <a:custGeom>
                <a:avLst/>
                <a:gdLst>
                  <a:gd name="T0" fmla="*/ 0 w 74"/>
                  <a:gd name="T1" fmla="*/ 72 h 72"/>
                  <a:gd name="T2" fmla="*/ 0 w 74"/>
                  <a:gd name="T3" fmla="*/ 43 h 72"/>
                  <a:gd name="T4" fmla="*/ 74 w 74"/>
                  <a:gd name="T5" fmla="*/ 0 h 72"/>
                  <a:gd name="T6" fmla="*/ 74 w 74"/>
                  <a:gd name="T7" fmla="*/ 30 h 72"/>
                  <a:gd name="T8" fmla="*/ 0 w 74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72">
                    <a:moveTo>
                      <a:pt x="0" y="72"/>
                    </a:moveTo>
                    <a:lnTo>
                      <a:pt x="0" y="43"/>
                    </a:lnTo>
                    <a:lnTo>
                      <a:pt x="74" y="0"/>
                    </a:lnTo>
                    <a:lnTo>
                      <a:pt x="74" y="30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 151"/>
              <p:cNvSpPr>
                <a:spLocks/>
              </p:cNvSpPr>
              <p:nvPr/>
            </p:nvSpPr>
            <p:spPr bwMode="auto">
              <a:xfrm>
                <a:off x="2853" y="1254"/>
                <a:ext cx="106" cy="90"/>
              </a:xfrm>
              <a:custGeom>
                <a:avLst/>
                <a:gdLst>
                  <a:gd name="T0" fmla="*/ 1 w 106"/>
                  <a:gd name="T1" fmla="*/ 90 h 90"/>
                  <a:gd name="T2" fmla="*/ 0 w 106"/>
                  <a:gd name="T3" fmla="*/ 61 h 90"/>
                  <a:gd name="T4" fmla="*/ 106 w 106"/>
                  <a:gd name="T5" fmla="*/ 0 h 90"/>
                  <a:gd name="T6" fmla="*/ 106 w 106"/>
                  <a:gd name="T7" fmla="*/ 29 h 90"/>
                  <a:gd name="T8" fmla="*/ 1 w 106"/>
                  <a:gd name="T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90">
                    <a:moveTo>
                      <a:pt x="1" y="90"/>
                    </a:moveTo>
                    <a:lnTo>
                      <a:pt x="0" y="61"/>
                    </a:lnTo>
                    <a:lnTo>
                      <a:pt x="106" y="0"/>
                    </a:lnTo>
                    <a:lnTo>
                      <a:pt x="106" y="29"/>
                    </a:lnTo>
                    <a:lnTo>
                      <a:pt x="1" y="9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 152"/>
              <p:cNvSpPr>
                <a:spLocks/>
              </p:cNvSpPr>
              <p:nvPr/>
            </p:nvSpPr>
            <p:spPr bwMode="auto">
              <a:xfrm>
                <a:off x="2760" y="1202"/>
                <a:ext cx="135" cy="108"/>
              </a:xfrm>
              <a:custGeom>
                <a:avLst/>
                <a:gdLst>
                  <a:gd name="T0" fmla="*/ 0 w 135"/>
                  <a:gd name="T1" fmla="*/ 108 h 108"/>
                  <a:gd name="T2" fmla="*/ 0 w 135"/>
                  <a:gd name="T3" fmla="*/ 79 h 108"/>
                  <a:gd name="T4" fmla="*/ 135 w 135"/>
                  <a:gd name="T5" fmla="*/ 0 h 108"/>
                  <a:gd name="T6" fmla="*/ 135 w 135"/>
                  <a:gd name="T7" fmla="*/ 30 h 108"/>
                  <a:gd name="T8" fmla="*/ 0 w 135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108">
                    <a:moveTo>
                      <a:pt x="0" y="108"/>
                    </a:moveTo>
                    <a:lnTo>
                      <a:pt x="0" y="79"/>
                    </a:lnTo>
                    <a:lnTo>
                      <a:pt x="135" y="0"/>
                    </a:lnTo>
                    <a:lnTo>
                      <a:pt x="135" y="30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 153"/>
              <p:cNvSpPr>
                <a:spLocks/>
              </p:cNvSpPr>
              <p:nvPr/>
            </p:nvSpPr>
            <p:spPr bwMode="auto">
              <a:xfrm>
                <a:off x="2759" y="1138"/>
                <a:ext cx="93" cy="83"/>
              </a:xfrm>
              <a:custGeom>
                <a:avLst/>
                <a:gdLst>
                  <a:gd name="T0" fmla="*/ 0 w 93"/>
                  <a:gd name="T1" fmla="*/ 83 h 83"/>
                  <a:gd name="T2" fmla="*/ 0 w 93"/>
                  <a:gd name="T3" fmla="*/ 54 h 83"/>
                  <a:gd name="T4" fmla="*/ 93 w 93"/>
                  <a:gd name="T5" fmla="*/ 0 h 83"/>
                  <a:gd name="T6" fmla="*/ 93 w 93"/>
                  <a:gd name="T7" fmla="*/ 30 h 83"/>
                  <a:gd name="T8" fmla="*/ 0 w 9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83">
                    <a:moveTo>
                      <a:pt x="0" y="83"/>
                    </a:moveTo>
                    <a:lnTo>
                      <a:pt x="0" y="54"/>
                    </a:lnTo>
                    <a:lnTo>
                      <a:pt x="93" y="0"/>
                    </a:lnTo>
                    <a:lnTo>
                      <a:pt x="93" y="30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 154"/>
              <p:cNvSpPr>
                <a:spLocks/>
              </p:cNvSpPr>
              <p:nvPr/>
            </p:nvSpPr>
            <p:spPr bwMode="auto">
              <a:xfrm>
                <a:off x="2760" y="1327"/>
                <a:ext cx="73" cy="71"/>
              </a:xfrm>
              <a:custGeom>
                <a:avLst/>
                <a:gdLst>
                  <a:gd name="T0" fmla="*/ 0 w 73"/>
                  <a:gd name="T1" fmla="*/ 71 h 71"/>
                  <a:gd name="T2" fmla="*/ 0 w 73"/>
                  <a:gd name="T3" fmla="*/ 42 h 71"/>
                  <a:gd name="T4" fmla="*/ 73 w 73"/>
                  <a:gd name="T5" fmla="*/ 0 h 71"/>
                  <a:gd name="T6" fmla="*/ 73 w 73"/>
                  <a:gd name="T7" fmla="*/ 29 h 71"/>
                  <a:gd name="T8" fmla="*/ 0 w 73"/>
                  <a:gd name="T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71">
                    <a:moveTo>
                      <a:pt x="0" y="71"/>
                    </a:moveTo>
                    <a:lnTo>
                      <a:pt x="0" y="42"/>
                    </a:lnTo>
                    <a:lnTo>
                      <a:pt x="73" y="0"/>
                    </a:lnTo>
                    <a:lnTo>
                      <a:pt x="73" y="29"/>
                    </a:lnTo>
                    <a:lnTo>
                      <a:pt x="0" y="7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 155"/>
              <p:cNvSpPr>
                <a:spLocks/>
              </p:cNvSpPr>
              <p:nvPr/>
            </p:nvSpPr>
            <p:spPr bwMode="auto">
              <a:xfrm>
                <a:off x="2868" y="1516"/>
                <a:ext cx="92" cy="68"/>
              </a:xfrm>
              <a:custGeom>
                <a:avLst/>
                <a:gdLst>
                  <a:gd name="T0" fmla="*/ 22 w 92"/>
                  <a:gd name="T1" fmla="*/ 68 h 68"/>
                  <a:gd name="T2" fmla="*/ 0 w 92"/>
                  <a:gd name="T3" fmla="*/ 53 h 68"/>
                  <a:gd name="T4" fmla="*/ 92 w 92"/>
                  <a:gd name="T5" fmla="*/ 0 h 68"/>
                  <a:gd name="T6" fmla="*/ 92 w 92"/>
                  <a:gd name="T7" fmla="*/ 28 h 68"/>
                  <a:gd name="T8" fmla="*/ 22 w 92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68">
                    <a:moveTo>
                      <a:pt x="22" y="68"/>
                    </a:moveTo>
                    <a:lnTo>
                      <a:pt x="0" y="53"/>
                    </a:lnTo>
                    <a:lnTo>
                      <a:pt x="92" y="0"/>
                    </a:lnTo>
                    <a:lnTo>
                      <a:pt x="92" y="28"/>
                    </a:lnTo>
                    <a:lnTo>
                      <a:pt x="22" y="6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 156"/>
              <p:cNvSpPr>
                <a:spLocks/>
              </p:cNvSpPr>
              <p:nvPr/>
            </p:nvSpPr>
            <p:spPr bwMode="auto">
              <a:xfrm>
                <a:off x="2911" y="1572"/>
                <a:ext cx="49" cy="44"/>
              </a:xfrm>
              <a:custGeom>
                <a:avLst/>
                <a:gdLst>
                  <a:gd name="T0" fmla="*/ 22 w 49"/>
                  <a:gd name="T1" fmla="*/ 44 h 44"/>
                  <a:gd name="T2" fmla="*/ 0 w 49"/>
                  <a:gd name="T3" fmla="*/ 28 h 44"/>
                  <a:gd name="T4" fmla="*/ 49 w 49"/>
                  <a:gd name="T5" fmla="*/ 0 h 44"/>
                  <a:gd name="T6" fmla="*/ 49 w 49"/>
                  <a:gd name="T7" fmla="*/ 28 h 44"/>
                  <a:gd name="T8" fmla="*/ 22 w 49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4">
                    <a:moveTo>
                      <a:pt x="22" y="44"/>
                    </a:moveTo>
                    <a:lnTo>
                      <a:pt x="0" y="28"/>
                    </a:lnTo>
                    <a:lnTo>
                      <a:pt x="49" y="0"/>
                    </a:lnTo>
                    <a:lnTo>
                      <a:pt x="49" y="28"/>
                    </a:lnTo>
                    <a:lnTo>
                      <a:pt x="22" y="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 157"/>
              <p:cNvSpPr>
                <a:spLocks/>
              </p:cNvSpPr>
              <p:nvPr/>
            </p:nvSpPr>
            <p:spPr bwMode="auto">
              <a:xfrm>
                <a:off x="3043" y="1347"/>
                <a:ext cx="113" cy="93"/>
              </a:xfrm>
              <a:custGeom>
                <a:avLst/>
                <a:gdLst>
                  <a:gd name="T0" fmla="*/ 0 w 113"/>
                  <a:gd name="T1" fmla="*/ 93 h 93"/>
                  <a:gd name="T2" fmla="*/ 0 w 113"/>
                  <a:gd name="T3" fmla="*/ 65 h 93"/>
                  <a:gd name="T4" fmla="*/ 113 w 113"/>
                  <a:gd name="T5" fmla="*/ 0 h 93"/>
                  <a:gd name="T6" fmla="*/ 113 w 113"/>
                  <a:gd name="T7" fmla="*/ 28 h 93"/>
                  <a:gd name="T8" fmla="*/ 0 w 113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93">
                    <a:moveTo>
                      <a:pt x="0" y="93"/>
                    </a:moveTo>
                    <a:lnTo>
                      <a:pt x="0" y="65"/>
                    </a:lnTo>
                    <a:lnTo>
                      <a:pt x="113" y="0"/>
                    </a:lnTo>
                    <a:lnTo>
                      <a:pt x="113" y="28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 158"/>
              <p:cNvSpPr>
                <a:spLocks/>
              </p:cNvSpPr>
              <p:nvPr/>
            </p:nvSpPr>
            <p:spPr bwMode="auto">
              <a:xfrm>
                <a:off x="3188" y="1242"/>
                <a:ext cx="150" cy="115"/>
              </a:xfrm>
              <a:custGeom>
                <a:avLst/>
                <a:gdLst>
                  <a:gd name="T0" fmla="*/ 0 w 150"/>
                  <a:gd name="T1" fmla="*/ 115 h 115"/>
                  <a:gd name="T2" fmla="*/ 0 w 150"/>
                  <a:gd name="T3" fmla="*/ 87 h 115"/>
                  <a:gd name="T4" fmla="*/ 150 w 150"/>
                  <a:gd name="T5" fmla="*/ 0 h 115"/>
                  <a:gd name="T6" fmla="*/ 150 w 150"/>
                  <a:gd name="T7" fmla="*/ 28 h 115"/>
                  <a:gd name="T8" fmla="*/ 0 w 150"/>
                  <a:gd name="T9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115">
                    <a:moveTo>
                      <a:pt x="0" y="115"/>
                    </a:moveTo>
                    <a:lnTo>
                      <a:pt x="0" y="87"/>
                    </a:lnTo>
                    <a:lnTo>
                      <a:pt x="150" y="0"/>
                    </a:lnTo>
                    <a:lnTo>
                      <a:pt x="150" y="28"/>
                    </a:lnTo>
                    <a:lnTo>
                      <a:pt x="0" y="11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 159"/>
              <p:cNvSpPr>
                <a:spLocks/>
              </p:cNvSpPr>
              <p:nvPr/>
            </p:nvSpPr>
            <p:spPr bwMode="auto">
              <a:xfrm>
                <a:off x="3106" y="982"/>
                <a:ext cx="43" cy="275"/>
              </a:xfrm>
              <a:custGeom>
                <a:avLst/>
                <a:gdLst>
                  <a:gd name="T0" fmla="*/ 0 w 43"/>
                  <a:gd name="T1" fmla="*/ 275 h 275"/>
                  <a:gd name="T2" fmla="*/ 0 w 43"/>
                  <a:gd name="T3" fmla="*/ 24 h 275"/>
                  <a:gd name="T4" fmla="*/ 42 w 43"/>
                  <a:gd name="T5" fmla="*/ 0 h 275"/>
                  <a:gd name="T6" fmla="*/ 43 w 43"/>
                  <a:gd name="T7" fmla="*/ 251 h 275"/>
                  <a:gd name="T8" fmla="*/ 0 w 43"/>
                  <a:gd name="T9" fmla="*/ 275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5">
                    <a:moveTo>
                      <a:pt x="0" y="275"/>
                    </a:moveTo>
                    <a:lnTo>
                      <a:pt x="0" y="24"/>
                    </a:lnTo>
                    <a:lnTo>
                      <a:pt x="42" y="0"/>
                    </a:lnTo>
                    <a:lnTo>
                      <a:pt x="43" y="251"/>
                    </a:lnTo>
                    <a:lnTo>
                      <a:pt x="0" y="275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 160"/>
              <p:cNvSpPr>
                <a:spLocks/>
              </p:cNvSpPr>
              <p:nvPr/>
            </p:nvSpPr>
            <p:spPr bwMode="auto">
              <a:xfrm>
                <a:off x="3169" y="988"/>
                <a:ext cx="43" cy="233"/>
              </a:xfrm>
              <a:custGeom>
                <a:avLst/>
                <a:gdLst>
                  <a:gd name="T0" fmla="*/ 1 w 43"/>
                  <a:gd name="T1" fmla="*/ 233 h 233"/>
                  <a:gd name="T2" fmla="*/ 0 w 43"/>
                  <a:gd name="T3" fmla="*/ 24 h 233"/>
                  <a:gd name="T4" fmla="*/ 42 w 43"/>
                  <a:gd name="T5" fmla="*/ 0 h 233"/>
                  <a:gd name="T6" fmla="*/ 43 w 43"/>
                  <a:gd name="T7" fmla="*/ 208 h 233"/>
                  <a:gd name="T8" fmla="*/ 1 w 43"/>
                  <a:gd name="T9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33">
                    <a:moveTo>
                      <a:pt x="1" y="233"/>
                    </a:moveTo>
                    <a:lnTo>
                      <a:pt x="0" y="24"/>
                    </a:lnTo>
                    <a:lnTo>
                      <a:pt x="42" y="0"/>
                    </a:lnTo>
                    <a:lnTo>
                      <a:pt x="43" y="208"/>
                    </a:lnTo>
                    <a:lnTo>
                      <a:pt x="1" y="233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 161"/>
              <p:cNvSpPr>
                <a:spLocks/>
              </p:cNvSpPr>
              <p:nvPr/>
            </p:nvSpPr>
            <p:spPr bwMode="auto">
              <a:xfrm>
                <a:off x="3232" y="857"/>
                <a:ext cx="42" cy="327"/>
              </a:xfrm>
              <a:custGeom>
                <a:avLst/>
                <a:gdLst>
                  <a:gd name="T0" fmla="*/ 1 w 42"/>
                  <a:gd name="T1" fmla="*/ 327 h 327"/>
                  <a:gd name="T2" fmla="*/ 0 w 42"/>
                  <a:gd name="T3" fmla="*/ 24 h 327"/>
                  <a:gd name="T4" fmla="*/ 42 w 42"/>
                  <a:gd name="T5" fmla="*/ 0 h 327"/>
                  <a:gd name="T6" fmla="*/ 42 w 42"/>
                  <a:gd name="T7" fmla="*/ 303 h 327"/>
                  <a:gd name="T8" fmla="*/ 1 w 42"/>
                  <a:gd name="T9" fmla="*/ 32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27">
                    <a:moveTo>
                      <a:pt x="1" y="327"/>
                    </a:moveTo>
                    <a:lnTo>
                      <a:pt x="0" y="24"/>
                    </a:lnTo>
                    <a:lnTo>
                      <a:pt x="42" y="0"/>
                    </a:lnTo>
                    <a:lnTo>
                      <a:pt x="42" y="303"/>
                    </a:lnTo>
                    <a:lnTo>
                      <a:pt x="1" y="327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 162"/>
              <p:cNvSpPr>
                <a:spLocks/>
              </p:cNvSpPr>
              <p:nvPr/>
            </p:nvSpPr>
            <p:spPr bwMode="auto">
              <a:xfrm>
                <a:off x="3295" y="768"/>
                <a:ext cx="43" cy="380"/>
              </a:xfrm>
              <a:custGeom>
                <a:avLst/>
                <a:gdLst>
                  <a:gd name="T0" fmla="*/ 1 w 43"/>
                  <a:gd name="T1" fmla="*/ 380 h 380"/>
                  <a:gd name="T2" fmla="*/ 0 w 43"/>
                  <a:gd name="T3" fmla="*/ 25 h 380"/>
                  <a:gd name="T4" fmla="*/ 42 w 43"/>
                  <a:gd name="T5" fmla="*/ 0 h 380"/>
                  <a:gd name="T6" fmla="*/ 43 w 43"/>
                  <a:gd name="T7" fmla="*/ 356 h 380"/>
                  <a:gd name="T8" fmla="*/ 1 w 43"/>
                  <a:gd name="T9" fmla="*/ 38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80">
                    <a:moveTo>
                      <a:pt x="1" y="380"/>
                    </a:moveTo>
                    <a:lnTo>
                      <a:pt x="0" y="25"/>
                    </a:lnTo>
                    <a:lnTo>
                      <a:pt x="42" y="0"/>
                    </a:lnTo>
                    <a:lnTo>
                      <a:pt x="43" y="356"/>
                    </a:lnTo>
                    <a:lnTo>
                      <a:pt x="1" y="380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 163"/>
              <p:cNvSpPr>
                <a:spLocks/>
              </p:cNvSpPr>
              <p:nvPr/>
            </p:nvSpPr>
            <p:spPr bwMode="auto">
              <a:xfrm>
                <a:off x="3160" y="1353"/>
                <a:ext cx="178" cy="132"/>
              </a:xfrm>
              <a:custGeom>
                <a:avLst/>
                <a:gdLst>
                  <a:gd name="T0" fmla="*/ 0 w 178"/>
                  <a:gd name="T1" fmla="*/ 132 h 132"/>
                  <a:gd name="T2" fmla="*/ 0 w 178"/>
                  <a:gd name="T3" fmla="*/ 104 h 132"/>
                  <a:gd name="T4" fmla="*/ 178 w 178"/>
                  <a:gd name="T5" fmla="*/ 0 h 132"/>
                  <a:gd name="T6" fmla="*/ 178 w 178"/>
                  <a:gd name="T7" fmla="*/ 29 h 132"/>
                  <a:gd name="T8" fmla="*/ 0 w 178"/>
                  <a:gd name="T9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32">
                    <a:moveTo>
                      <a:pt x="0" y="132"/>
                    </a:moveTo>
                    <a:lnTo>
                      <a:pt x="0" y="104"/>
                    </a:lnTo>
                    <a:lnTo>
                      <a:pt x="178" y="0"/>
                    </a:lnTo>
                    <a:lnTo>
                      <a:pt x="178" y="29"/>
                    </a:lnTo>
                    <a:lnTo>
                      <a:pt x="0" y="13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9" name="Freeform 164"/>
              <p:cNvSpPr>
                <a:spLocks/>
              </p:cNvSpPr>
              <p:nvPr/>
            </p:nvSpPr>
            <p:spPr bwMode="auto">
              <a:xfrm>
                <a:off x="3043" y="1298"/>
                <a:ext cx="295" cy="198"/>
              </a:xfrm>
              <a:custGeom>
                <a:avLst/>
                <a:gdLst>
                  <a:gd name="T0" fmla="*/ 1 w 295"/>
                  <a:gd name="T1" fmla="*/ 198 h 198"/>
                  <a:gd name="T2" fmla="*/ 0 w 295"/>
                  <a:gd name="T3" fmla="*/ 170 h 198"/>
                  <a:gd name="T4" fmla="*/ 295 w 295"/>
                  <a:gd name="T5" fmla="*/ 0 h 198"/>
                  <a:gd name="T6" fmla="*/ 295 w 295"/>
                  <a:gd name="T7" fmla="*/ 28 h 198"/>
                  <a:gd name="T8" fmla="*/ 1 w 295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198">
                    <a:moveTo>
                      <a:pt x="1" y="198"/>
                    </a:moveTo>
                    <a:lnTo>
                      <a:pt x="0" y="170"/>
                    </a:lnTo>
                    <a:lnTo>
                      <a:pt x="295" y="0"/>
                    </a:lnTo>
                    <a:lnTo>
                      <a:pt x="295" y="28"/>
                    </a:lnTo>
                    <a:lnTo>
                      <a:pt x="1" y="19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0" name="Freeform 165"/>
              <p:cNvSpPr>
                <a:spLocks/>
              </p:cNvSpPr>
              <p:nvPr/>
            </p:nvSpPr>
            <p:spPr bwMode="auto">
              <a:xfrm>
                <a:off x="3043" y="1237"/>
                <a:ext cx="208" cy="147"/>
              </a:xfrm>
              <a:custGeom>
                <a:avLst/>
                <a:gdLst>
                  <a:gd name="T0" fmla="*/ 0 w 208"/>
                  <a:gd name="T1" fmla="*/ 147 h 147"/>
                  <a:gd name="T2" fmla="*/ 0 w 208"/>
                  <a:gd name="T3" fmla="*/ 119 h 147"/>
                  <a:gd name="T4" fmla="*/ 208 w 208"/>
                  <a:gd name="T5" fmla="*/ 0 h 147"/>
                  <a:gd name="T6" fmla="*/ 208 w 208"/>
                  <a:gd name="T7" fmla="*/ 28 h 147"/>
                  <a:gd name="T8" fmla="*/ 0 w 208"/>
                  <a:gd name="T9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47">
                    <a:moveTo>
                      <a:pt x="0" y="147"/>
                    </a:moveTo>
                    <a:lnTo>
                      <a:pt x="0" y="119"/>
                    </a:lnTo>
                    <a:lnTo>
                      <a:pt x="208" y="0"/>
                    </a:lnTo>
                    <a:lnTo>
                      <a:pt x="208" y="28"/>
                    </a:lnTo>
                    <a:lnTo>
                      <a:pt x="0" y="14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1" name="Freeform 166"/>
              <p:cNvSpPr>
                <a:spLocks/>
              </p:cNvSpPr>
              <p:nvPr/>
            </p:nvSpPr>
            <p:spPr bwMode="auto">
              <a:xfrm>
                <a:off x="3043" y="1145"/>
                <a:ext cx="295" cy="184"/>
              </a:xfrm>
              <a:custGeom>
                <a:avLst/>
                <a:gdLst>
                  <a:gd name="T0" fmla="*/ 0 w 295"/>
                  <a:gd name="T1" fmla="*/ 184 h 184"/>
                  <a:gd name="T2" fmla="*/ 0 w 295"/>
                  <a:gd name="T3" fmla="*/ 170 h 184"/>
                  <a:gd name="T4" fmla="*/ 295 w 295"/>
                  <a:gd name="T5" fmla="*/ 0 h 184"/>
                  <a:gd name="T6" fmla="*/ 295 w 295"/>
                  <a:gd name="T7" fmla="*/ 14 h 184"/>
                  <a:gd name="T8" fmla="*/ 0 w 295"/>
                  <a:gd name="T9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184">
                    <a:moveTo>
                      <a:pt x="0" y="184"/>
                    </a:moveTo>
                    <a:lnTo>
                      <a:pt x="0" y="170"/>
                    </a:lnTo>
                    <a:lnTo>
                      <a:pt x="295" y="0"/>
                    </a:lnTo>
                    <a:lnTo>
                      <a:pt x="295" y="14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2" name="Freeform 167"/>
              <p:cNvSpPr>
                <a:spLocks/>
              </p:cNvSpPr>
              <p:nvPr/>
            </p:nvSpPr>
            <p:spPr bwMode="auto">
              <a:xfrm>
                <a:off x="3043" y="1122"/>
                <a:ext cx="43" cy="171"/>
              </a:xfrm>
              <a:custGeom>
                <a:avLst/>
                <a:gdLst>
                  <a:gd name="T0" fmla="*/ 0 w 43"/>
                  <a:gd name="T1" fmla="*/ 171 h 171"/>
                  <a:gd name="T2" fmla="*/ 0 w 43"/>
                  <a:gd name="T3" fmla="*/ 24 h 171"/>
                  <a:gd name="T4" fmla="*/ 42 w 43"/>
                  <a:gd name="T5" fmla="*/ 0 h 171"/>
                  <a:gd name="T6" fmla="*/ 43 w 43"/>
                  <a:gd name="T7" fmla="*/ 147 h 171"/>
                  <a:gd name="T8" fmla="*/ 0 w 43"/>
                  <a:gd name="T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171">
                    <a:moveTo>
                      <a:pt x="0" y="171"/>
                    </a:moveTo>
                    <a:lnTo>
                      <a:pt x="0" y="24"/>
                    </a:lnTo>
                    <a:lnTo>
                      <a:pt x="42" y="0"/>
                    </a:lnTo>
                    <a:lnTo>
                      <a:pt x="43" y="147"/>
                    </a:lnTo>
                    <a:lnTo>
                      <a:pt x="0" y="171"/>
                    </a:ln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3" name="Freeform 168"/>
              <p:cNvSpPr>
                <a:spLocks/>
              </p:cNvSpPr>
              <p:nvPr/>
            </p:nvSpPr>
            <p:spPr bwMode="auto">
              <a:xfrm>
                <a:off x="3044" y="1479"/>
                <a:ext cx="77" cy="73"/>
              </a:xfrm>
              <a:custGeom>
                <a:avLst/>
                <a:gdLst>
                  <a:gd name="T0" fmla="*/ 0 w 77"/>
                  <a:gd name="T1" fmla="*/ 73 h 73"/>
                  <a:gd name="T2" fmla="*/ 0 w 77"/>
                  <a:gd name="T3" fmla="*/ 45 h 73"/>
                  <a:gd name="T4" fmla="*/ 77 w 77"/>
                  <a:gd name="T5" fmla="*/ 0 h 73"/>
                  <a:gd name="T6" fmla="*/ 77 w 77"/>
                  <a:gd name="T7" fmla="*/ 28 h 73"/>
                  <a:gd name="T8" fmla="*/ 0 w 77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73">
                    <a:moveTo>
                      <a:pt x="0" y="73"/>
                    </a:moveTo>
                    <a:lnTo>
                      <a:pt x="0" y="45"/>
                    </a:lnTo>
                    <a:lnTo>
                      <a:pt x="77" y="0"/>
                    </a:lnTo>
                    <a:lnTo>
                      <a:pt x="77" y="28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4" name="Freeform 169"/>
              <p:cNvSpPr>
                <a:spLocks noEditPoints="1"/>
              </p:cNvSpPr>
              <p:nvPr/>
            </p:nvSpPr>
            <p:spPr bwMode="auto">
              <a:xfrm>
                <a:off x="3840" y="1512"/>
                <a:ext cx="339" cy="830"/>
              </a:xfrm>
              <a:custGeom>
                <a:avLst/>
                <a:gdLst>
                  <a:gd name="T0" fmla="*/ 536 w 706"/>
                  <a:gd name="T1" fmla="*/ 1728 h 1728"/>
                  <a:gd name="T2" fmla="*/ 461 w 706"/>
                  <a:gd name="T3" fmla="*/ 1711 h 1728"/>
                  <a:gd name="T4" fmla="*/ 449 w 706"/>
                  <a:gd name="T5" fmla="*/ 1705 h 1728"/>
                  <a:gd name="T6" fmla="*/ 430 w 706"/>
                  <a:gd name="T7" fmla="*/ 1553 h 1728"/>
                  <a:gd name="T8" fmla="*/ 422 w 706"/>
                  <a:gd name="T9" fmla="*/ 1030 h 1728"/>
                  <a:gd name="T10" fmla="*/ 413 w 706"/>
                  <a:gd name="T11" fmla="*/ 830 h 1728"/>
                  <a:gd name="T12" fmla="*/ 410 w 706"/>
                  <a:gd name="T13" fmla="*/ 743 h 1728"/>
                  <a:gd name="T14" fmla="*/ 456 w 706"/>
                  <a:gd name="T15" fmla="*/ 327 h 1728"/>
                  <a:gd name="T16" fmla="*/ 490 w 706"/>
                  <a:gd name="T17" fmla="*/ 312 h 1728"/>
                  <a:gd name="T18" fmla="*/ 706 w 706"/>
                  <a:gd name="T19" fmla="*/ 728 h 1728"/>
                  <a:gd name="T20" fmla="*/ 704 w 706"/>
                  <a:gd name="T21" fmla="*/ 856 h 1728"/>
                  <a:gd name="T22" fmla="*/ 702 w 706"/>
                  <a:gd name="T23" fmla="*/ 990 h 1728"/>
                  <a:gd name="T24" fmla="*/ 661 w 706"/>
                  <a:gd name="T25" fmla="*/ 1596 h 1728"/>
                  <a:gd name="T26" fmla="*/ 655 w 706"/>
                  <a:gd name="T27" fmla="*/ 1691 h 1728"/>
                  <a:gd name="T28" fmla="*/ 647 w 706"/>
                  <a:gd name="T29" fmla="*/ 1696 h 1728"/>
                  <a:gd name="T30" fmla="*/ 536 w 706"/>
                  <a:gd name="T31" fmla="*/ 1728 h 1728"/>
                  <a:gd name="T32" fmla="*/ 219 w 706"/>
                  <a:gd name="T33" fmla="*/ 1726 h 1728"/>
                  <a:gd name="T34" fmla="*/ 6 w 706"/>
                  <a:gd name="T35" fmla="*/ 1573 h 1728"/>
                  <a:gd name="T36" fmla="*/ 55 w 706"/>
                  <a:gd name="T37" fmla="*/ 1016 h 1728"/>
                  <a:gd name="T38" fmla="*/ 42 w 706"/>
                  <a:gd name="T39" fmla="*/ 816 h 1728"/>
                  <a:gd name="T40" fmla="*/ 88 w 706"/>
                  <a:gd name="T41" fmla="*/ 0 h 1728"/>
                  <a:gd name="T42" fmla="*/ 88 w 706"/>
                  <a:gd name="T43" fmla="*/ 0 h 1728"/>
                  <a:gd name="T44" fmla="*/ 373 w 706"/>
                  <a:gd name="T45" fmla="*/ 86 h 1728"/>
                  <a:gd name="T46" fmla="*/ 471 w 706"/>
                  <a:gd name="T47" fmla="*/ 275 h 1728"/>
                  <a:gd name="T48" fmla="*/ 424 w 706"/>
                  <a:gd name="T49" fmla="*/ 284 h 1728"/>
                  <a:gd name="T50" fmla="*/ 399 w 706"/>
                  <a:gd name="T51" fmla="*/ 490 h 1728"/>
                  <a:gd name="T52" fmla="*/ 358 w 706"/>
                  <a:gd name="T53" fmla="*/ 827 h 1728"/>
                  <a:gd name="T54" fmla="*/ 331 w 706"/>
                  <a:gd name="T55" fmla="*/ 1051 h 1728"/>
                  <a:gd name="T56" fmla="*/ 248 w 706"/>
                  <a:gd name="T57" fmla="*/ 1553 h 1728"/>
                  <a:gd name="T58" fmla="*/ 219 w 706"/>
                  <a:gd name="T59" fmla="*/ 1726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06" h="1728">
                    <a:moveTo>
                      <a:pt x="536" y="1728"/>
                    </a:moveTo>
                    <a:cubicBezTo>
                      <a:pt x="501" y="1728"/>
                      <a:pt x="475" y="1718"/>
                      <a:pt x="461" y="1711"/>
                    </a:cubicBezTo>
                    <a:cubicBezTo>
                      <a:pt x="453" y="1708"/>
                      <a:pt x="449" y="1705"/>
                      <a:pt x="449" y="1705"/>
                    </a:cubicBezTo>
                    <a:cubicBezTo>
                      <a:pt x="441" y="1651"/>
                      <a:pt x="435" y="1600"/>
                      <a:pt x="430" y="1553"/>
                    </a:cubicBezTo>
                    <a:cubicBezTo>
                      <a:pt x="402" y="1308"/>
                      <a:pt x="401" y="1146"/>
                      <a:pt x="422" y="1030"/>
                    </a:cubicBezTo>
                    <a:lnTo>
                      <a:pt x="413" y="830"/>
                    </a:lnTo>
                    <a:lnTo>
                      <a:pt x="410" y="743"/>
                    </a:lnTo>
                    <a:lnTo>
                      <a:pt x="456" y="327"/>
                    </a:lnTo>
                    <a:cubicBezTo>
                      <a:pt x="469" y="322"/>
                      <a:pt x="480" y="317"/>
                      <a:pt x="490" y="312"/>
                    </a:cubicBezTo>
                    <a:lnTo>
                      <a:pt x="706" y="728"/>
                    </a:lnTo>
                    <a:lnTo>
                      <a:pt x="704" y="856"/>
                    </a:lnTo>
                    <a:lnTo>
                      <a:pt x="702" y="990"/>
                    </a:lnTo>
                    <a:lnTo>
                      <a:pt x="661" y="1596"/>
                    </a:lnTo>
                    <a:lnTo>
                      <a:pt x="655" y="1691"/>
                    </a:lnTo>
                    <a:cubicBezTo>
                      <a:pt x="652" y="1692"/>
                      <a:pt x="650" y="1694"/>
                      <a:pt x="647" y="1696"/>
                    </a:cubicBezTo>
                    <a:cubicBezTo>
                      <a:pt x="605" y="1720"/>
                      <a:pt x="567" y="1728"/>
                      <a:pt x="536" y="1728"/>
                    </a:cubicBezTo>
                    <a:moveTo>
                      <a:pt x="219" y="1726"/>
                    </a:moveTo>
                    <a:lnTo>
                      <a:pt x="6" y="1573"/>
                    </a:lnTo>
                    <a:cubicBezTo>
                      <a:pt x="2" y="1367"/>
                      <a:pt x="0" y="1160"/>
                      <a:pt x="55" y="1016"/>
                    </a:cubicBezTo>
                    <a:cubicBezTo>
                      <a:pt x="49" y="947"/>
                      <a:pt x="45" y="881"/>
                      <a:pt x="42" y="816"/>
                    </a:cubicBezTo>
                    <a:cubicBezTo>
                      <a:pt x="24" y="347"/>
                      <a:pt x="88" y="0"/>
                      <a:pt x="88" y="0"/>
                    </a:cubicBezTo>
                    <a:lnTo>
                      <a:pt x="88" y="0"/>
                    </a:lnTo>
                    <a:cubicBezTo>
                      <a:pt x="111" y="23"/>
                      <a:pt x="228" y="78"/>
                      <a:pt x="373" y="86"/>
                    </a:cubicBezTo>
                    <a:lnTo>
                      <a:pt x="471" y="275"/>
                    </a:lnTo>
                    <a:cubicBezTo>
                      <a:pt x="443" y="283"/>
                      <a:pt x="424" y="284"/>
                      <a:pt x="424" y="284"/>
                    </a:cubicBezTo>
                    <a:lnTo>
                      <a:pt x="399" y="490"/>
                    </a:lnTo>
                    <a:lnTo>
                      <a:pt x="358" y="827"/>
                    </a:lnTo>
                    <a:lnTo>
                      <a:pt x="331" y="1051"/>
                    </a:lnTo>
                    <a:lnTo>
                      <a:pt x="248" y="1553"/>
                    </a:lnTo>
                    <a:lnTo>
                      <a:pt x="219" y="1726"/>
                    </a:lnTo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5" name="Freeform 170"/>
              <p:cNvSpPr>
                <a:spLocks/>
              </p:cNvSpPr>
              <p:nvPr/>
            </p:nvSpPr>
            <p:spPr bwMode="auto">
              <a:xfrm>
                <a:off x="4031" y="1748"/>
                <a:ext cx="5" cy="121"/>
              </a:xfrm>
              <a:custGeom>
                <a:avLst/>
                <a:gdLst>
                  <a:gd name="T0" fmla="*/ 5 w 5"/>
                  <a:gd name="T1" fmla="*/ 121 h 121"/>
                  <a:gd name="T2" fmla="*/ 0 w 5"/>
                  <a:gd name="T3" fmla="*/ 0 h 121"/>
                  <a:gd name="T4" fmla="*/ 5 w 5"/>
                  <a:gd name="T5" fmla="*/ 121 h 121"/>
                  <a:gd name="T6" fmla="*/ 5 w 5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21">
                    <a:moveTo>
                      <a:pt x="5" y="121"/>
                    </a:moveTo>
                    <a:lnTo>
                      <a:pt x="0" y="0"/>
                    </a:lnTo>
                    <a:lnTo>
                      <a:pt x="5" y="121"/>
                    </a:lnTo>
                    <a:lnTo>
                      <a:pt x="5" y="121"/>
                    </a:lnTo>
                    <a:close/>
                  </a:path>
                </a:pathLst>
              </a:custGeom>
              <a:solidFill>
                <a:srgbClr val="AF94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6" name="Freeform 171"/>
              <p:cNvSpPr>
                <a:spLocks/>
              </p:cNvSpPr>
              <p:nvPr/>
            </p:nvSpPr>
            <p:spPr bwMode="auto">
              <a:xfrm>
                <a:off x="4031" y="1644"/>
                <a:ext cx="44" cy="225"/>
              </a:xfrm>
              <a:custGeom>
                <a:avLst/>
                <a:gdLst>
                  <a:gd name="T0" fmla="*/ 11 w 91"/>
                  <a:gd name="T1" fmla="*/ 468 h 468"/>
                  <a:gd name="T2" fmla="*/ 0 w 91"/>
                  <a:gd name="T3" fmla="*/ 215 h 468"/>
                  <a:gd name="T4" fmla="*/ 25 w 91"/>
                  <a:gd name="T5" fmla="*/ 9 h 468"/>
                  <a:gd name="T6" fmla="*/ 72 w 91"/>
                  <a:gd name="T7" fmla="*/ 0 h 468"/>
                  <a:gd name="T8" fmla="*/ 91 w 91"/>
                  <a:gd name="T9" fmla="*/ 37 h 468"/>
                  <a:gd name="T10" fmla="*/ 57 w 91"/>
                  <a:gd name="T11" fmla="*/ 52 h 468"/>
                  <a:gd name="T12" fmla="*/ 11 w 91"/>
                  <a:gd name="T13" fmla="*/ 468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468">
                    <a:moveTo>
                      <a:pt x="11" y="468"/>
                    </a:moveTo>
                    <a:lnTo>
                      <a:pt x="0" y="215"/>
                    </a:lnTo>
                    <a:lnTo>
                      <a:pt x="25" y="9"/>
                    </a:lnTo>
                    <a:cubicBezTo>
                      <a:pt x="25" y="9"/>
                      <a:pt x="44" y="8"/>
                      <a:pt x="72" y="0"/>
                    </a:cubicBezTo>
                    <a:lnTo>
                      <a:pt x="91" y="37"/>
                    </a:lnTo>
                    <a:cubicBezTo>
                      <a:pt x="81" y="42"/>
                      <a:pt x="70" y="47"/>
                      <a:pt x="57" y="52"/>
                    </a:cubicBezTo>
                    <a:lnTo>
                      <a:pt x="11" y="468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7" name="Freeform 172"/>
              <p:cNvSpPr>
                <a:spLocks noEditPoints="1"/>
              </p:cNvSpPr>
              <p:nvPr/>
            </p:nvSpPr>
            <p:spPr bwMode="auto">
              <a:xfrm>
                <a:off x="3874" y="1303"/>
                <a:ext cx="145" cy="251"/>
              </a:xfrm>
              <a:custGeom>
                <a:avLst/>
                <a:gdLst>
                  <a:gd name="T0" fmla="*/ 301 w 301"/>
                  <a:gd name="T1" fmla="*/ 523 h 523"/>
                  <a:gd name="T2" fmla="*/ 16 w 301"/>
                  <a:gd name="T3" fmla="*/ 437 h 523"/>
                  <a:gd name="T4" fmla="*/ 16 w 301"/>
                  <a:gd name="T5" fmla="*/ 437 h 523"/>
                  <a:gd name="T6" fmla="*/ 35 w 301"/>
                  <a:gd name="T7" fmla="*/ 197 h 523"/>
                  <a:gd name="T8" fmla="*/ 36 w 301"/>
                  <a:gd name="T9" fmla="*/ 190 h 523"/>
                  <a:gd name="T10" fmla="*/ 29 w 301"/>
                  <a:gd name="T11" fmla="*/ 0 h 523"/>
                  <a:gd name="T12" fmla="*/ 301 w 301"/>
                  <a:gd name="T13" fmla="*/ 523 h 523"/>
                  <a:gd name="T14" fmla="*/ 23 w 301"/>
                  <a:gd name="T15" fmla="*/ 120 h 523"/>
                  <a:gd name="T16" fmla="*/ 23 w 301"/>
                  <a:gd name="T17" fmla="*/ 120 h 523"/>
                  <a:gd name="T18" fmla="*/ 23 w 301"/>
                  <a:gd name="T19" fmla="*/ 120 h 523"/>
                  <a:gd name="T20" fmla="*/ 23 w 301"/>
                  <a:gd name="T21" fmla="*/ 120 h 523"/>
                  <a:gd name="T22" fmla="*/ 22 w 301"/>
                  <a:gd name="T23" fmla="*/ 117 h 523"/>
                  <a:gd name="T24" fmla="*/ 23 w 301"/>
                  <a:gd name="T25" fmla="*/ 120 h 523"/>
                  <a:gd name="T26" fmla="*/ 22 w 301"/>
                  <a:gd name="T27" fmla="*/ 117 h 523"/>
                  <a:gd name="T28" fmla="*/ 21 w 301"/>
                  <a:gd name="T29" fmla="*/ 116 h 523"/>
                  <a:gd name="T30" fmla="*/ 22 w 301"/>
                  <a:gd name="T31" fmla="*/ 117 h 523"/>
                  <a:gd name="T32" fmla="*/ 21 w 301"/>
                  <a:gd name="T33" fmla="*/ 116 h 523"/>
                  <a:gd name="T34" fmla="*/ 0 w 301"/>
                  <a:gd name="T35" fmla="*/ 64 h 523"/>
                  <a:gd name="T36" fmla="*/ 0 w 301"/>
                  <a:gd name="T37" fmla="*/ 64 h 523"/>
                  <a:gd name="T38" fmla="*/ 21 w 301"/>
                  <a:gd name="T39" fmla="*/ 116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1" h="523">
                    <a:moveTo>
                      <a:pt x="301" y="523"/>
                    </a:moveTo>
                    <a:cubicBezTo>
                      <a:pt x="156" y="515"/>
                      <a:pt x="39" y="460"/>
                      <a:pt x="16" y="437"/>
                    </a:cubicBezTo>
                    <a:lnTo>
                      <a:pt x="16" y="437"/>
                    </a:lnTo>
                    <a:lnTo>
                      <a:pt x="35" y="197"/>
                    </a:lnTo>
                    <a:cubicBezTo>
                      <a:pt x="35" y="194"/>
                      <a:pt x="36" y="192"/>
                      <a:pt x="36" y="190"/>
                    </a:cubicBezTo>
                    <a:cubicBezTo>
                      <a:pt x="48" y="127"/>
                      <a:pt x="46" y="61"/>
                      <a:pt x="29" y="0"/>
                    </a:cubicBezTo>
                    <a:lnTo>
                      <a:pt x="301" y="523"/>
                    </a:lnTo>
                    <a:close/>
                    <a:moveTo>
                      <a:pt x="23" y="120"/>
                    </a:moveTo>
                    <a:cubicBezTo>
                      <a:pt x="23" y="120"/>
                      <a:pt x="23" y="120"/>
                      <a:pt x="23" y="120"/>
                    </a:cubicBezTo>
                    <a:cubicBezTo>
                      <a:pt x="23" y="120"/>
                      <a:pt x="23" y="120"/>
                      <a:pt x="23" y="120"/>
                    </a:cubicBezTo>
                    <a:close/>
                    <a:moveTo>
                      <a:pt x="23" y="120"/>
                    </a:moveTo>
                    <a:cubicBezTo>
                      <a:pt x="23" y="119"/>
                      <a:pt x="22" y="118"/>
                      <a:pt x="22" y="117"/>
                    </a:cubicBezTo>
                    <a:cubicBezTo>
                      <a:pt x="22" y="118"/>
                      <a:pt x="23" y="119"/>
                      <a:pt x="23" y="120"/>
                    </a:cubicBezTo>
                    <a:close/>
                    <a:moveTo>
                      <a:pt x="22" y="117"/>
                    </a:moveTo>
                    <a:cubicBezTo>
                      <a:pt x="22" y="117"/>
                      <a:pt x="22" y="116"/>
                      <a:pt x="21" y="116"/>
                    </a:cubicBezTo>
                    <a:cubicBezTo>
                      <a:pt x="22" y="116"/>
                      <a:pt x="22" y="117"/>
                      <a:pt x="22" y="117"/>
                    </a:cubicBezTo>
                    <a:close/>
                    <a:moveTo>
                      <a:pt x="21" y="116"/>
                    </a:moveTo>
                    <a:cubicBezTo>
                      <a:pt x="15" y="102"/>
                      <a:pt x="8" y="84"/>
                      <a:pt x="0" y="64"/>
                    </a:cubicBezTo>
                    <a:lnTo>
                      <a:pt x="0" y="64"/>
                    </a:lnTo>
                    <a:cubicBezTo>
                      <a:pt x="8" y="84"/>
                      <a:pt x="15" y="102"/>
                      <a:pt x="21" y="116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8" name="Freeform 173"/>
              <p:cNvSpPr>
                <a:spLocks/>
              </p:cNvSpPr>
              <p:nvPr/>
            </p:nvSpPr>
            <p:spPr bwMode="auto">
              <a:xfrm>
                <a:off x="3874" y="1285"/>
                <a:ext cx="23" cy="110"/>
              </a:xfrm>
              <a:custGeom>
                <a:avLst/>
                <a:gdLst>
                  <a:gd name="T0" fmla="*/ 35 w 48"/>
                  <a:gd name="T1" fmla="*/ 229 h 229"/>
                  <a:gd name="T2" fmla="*/ 23 w 48"/>
                  <a:gd name="T3" fmla="*/ 157 h 229"/>
                  <a:gd name="T4" fmla="*/ 23 w 48"/>
                  <a:gd name="T5" fmla="*/ 157 h 229"/>
                  <a:gd name="T6" fmla="*/ 23 w 48"/>
                  <a:gd name="T7" fmla="*/ 157 h 229"/>
                  <a:gd name="T8" fmla="*/ 22 w 48"/>
                  <a:gd name="T9" fmla="*/ 154 h 229"/>
                  <a:gd name="T10" fmla="*/ 22 w 48"/>
                  <a:gd name="T11" fmla="*/ 154 h 229"/>
                  <a:gd name="T12" fmla="*/ 22 w 48"/>
                  <a:gd name="T13" fmla="*/ 154 h 229"/>
                  <a:gd name="T14" fmla="*/ 21 w 48"/>
                  <a:gd name="T15" fmla="*/ 153 h 229"/>
                  <a:gd name="T16" fmla="*/ 21 w 48"/>
                  <a:gd name="T17" fmla="*/ 153 h 229"/>
                  <a:gd name="T18" fmla="*/ 0 w 48"/>
                  <a:gd name="T19" fmla="*/ 101 h 229"/>
                  <a:gd name="T20" fmla="*/ 10 w 48"/>
                  <a:gd name="T21" fmla="*/ 0 h 229"/>
                  <a:gd name="T22" fmla="*/ 29 w 48"/>
                  <a:gd name="T23" fmla="*/ 37 h 229"/>
                  <a:gd name="T24" fmla="*/ 36 w 48"/>
                  <a:gd name="T25" fmla="*/ 227 h 229"/>
                  <a:gd name="T26" fmla="*/ 35 w 48"/>
                  <a:gd name="T2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29">
                    <a:moveTo>
                      <a:pt x="35" y="229"/>
                    </a:moveTo>
                    <a:cubicBezTo>
                      <a:pt x="37" y="204"/>
                      <a:pt x="32" y="180"/>
                      <a:pt x="23" y="157"/>
                    </a:cubicBezTo>
                    <a:cubicBezTo>
                      <a:pt x="23" y="157"/>
                      <a:pt x="23" y="157"/>
                      <a:pt x="23" y="157"/>
                    </a:cubicBezTo>
                    <a:lnTo>
                      <a:pt x="23" y="157"/>
                    </a:lnTo>
                    <a:cubicBezTo>
                      <a:pt x="23" y="156"/>
                      <a:pt x="22" y="155"/>
                      <a:pt x="22" y="154"/>
                    </a:cubicBezTo>
                    <a:lnTo>
                      <a:pt x="22" y="154"/>
                    </a:lnTo>
                    <a:cubicBezTo>
                      <a:pt x="22" y="154"/>
                      <a:pt x="22" y="154"/>
                      <a:pt x="22" y="154"/>
                    </a:cubicBezTo>
                    <a:cubicBezTo>
                      <a:pt x="22" y="154"/>
                      <a:pt x="22" y="153"/>
                      <a:pt x="21" y="153"/>
                    </a:cubicBezTo>
                    <a:cubicBezTo>
                      <a:pt x="21" y="153"/>
                      <a:pt x="21" y="153"/>
                      <a:pt x="21" y="153"/>
                    </a:cubicBezTo>
                    <a:cubicBezTo>
                      <a:pt x="15" y="139"/>
                      <a:pt x="8" y="121"/>
                      <a:pt x="0" y="101"/>
                    </a:cubicBezTo>
                    <a:cubicBezTo>
                      <a:pt x="6" y="57"/>
                      <a:pt x="9" y="20"/>
                      <a:pt x="10" y="0"/>
                    </a:cubicBezTo>
                    <a:lnTo>
                      <a:pt x="29" y="37"/>
                    </a:lnTo>
                    <a:cubicBezTo>
                      <a:pt x="46" y="98"/>
                      <a:pt x="48" y="164"/>
                      <a:pt x="36" y="227"/>
                    </a:cubicBezTo>
                    <a:cubicBezTo>
                      <a:pt x="36" y="228"/>
                      <a:pt x="35" y="228"/>
                      <a:pt x="35" y="229"/>
                    </a:cubicBez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9" name="Freeform 174"/>
              <p:cNvSpPr>
                <a:spLocks/>
              </p:cNvSpPr>
              <p:nvPr/>
            </p:nvSpPr>
            <p:spPr bwMode="auto">
              <a:xfrm>
                <a:off x="3472" y="1223"/>
                <a:ext cx="191" cy="153"/>
              </a:xfrm>
              <a:custGeom>
                <a:avLst/>
                <a:gdLst>
                  <a:gd name="T0" fmla="*/ 351 w 398"/>
                  <a:gd name="T1" fmla="*/ 317 h 317"/>
                  <a:gd name="T2" fmla="*/ 278 w 398"/>
                  <a:gd name="T3" fmla="*/ 281 h 317"/>
                  <a:gd name="T4" fmla="*/ 239 w 398"/>
                  <a:gd name="T5" fmla="*/ 269 h 317"/>
                  <a:gd name="T6" fmla="*/ 129 w 398"/>
                  <a:gd name="T7" fmla="*/ 251 h 317"/>
                  <a:gd name="T8" fmla="*/ 43 w 398"/>
                  <a:gd name="T9" fmla="*/ 190 h 317"/>
                  <a:gd name="T10" fmla="*/ 4 w 398"/>
                  <a:gd name="T11" fmla="*/ 99 h 317"/>
                  <a:gd name="T12" fmla="*/ 1 w 398"/>
                  <a:gd name="T13" fmla="*/ 83 h 317"/>
                  <a:gd name="T14" fmla="*/ 4 w 398"/>
                  <a:gd name="T15" fmla="*/ 72 h 317"/>
                  <a:gd name="T16" fmla="*/ 15 w 398"/>
                  <a:gd name="T17" fmla="*/ 66 h 317"/>
                  <a:gd name="T18" fmla="*/ 21 w 398"/>
                  <a:gd name="T19" fmla="*/ 67 h 317"/>
                  <a:gd name="T20" fmla="*/ 106 w 398"/>
                  <a:gd name="T21" fmla="*/ 100 h 317"/>
                  <a:gd name="T22" fmla="*/ 144 w 398"/>
                  <a:gd name="T23" fmla="*/ 107 h 317"/>
                  <a:gd name="T24" fmla="*/ 171 w 398"/>
                  <a:gd name="T25" fmla="*/ 104 h 317"/>
                  <a:gd name="T26" fmla="*/ 200 w 398"/>
                  <a:gd name="T27" fmla="*/ 97 h 317"/>
                  <a:gd name="T28" fmla="*/ 160 w 398"/>
                  <a:gd name="T29" fmla="*/ 64 h 317"/>
                  <a:gd name="T30" fmla="*/ 152 w 398"/>
                  <a:gd name="T31" fmla="*/ 0 h 317"/>
                  <a:gd name="T32" fmla="*/ 251 w 398"/>
                  <a:gd name="T33" fmla="*/ 65 h 317"/>
                  <a:gd name="T34" fmla="*/ 308 w 398"/>
                  <a:gd name="T35" fmla="*/ 118 h 317"/>
                  <a:gd name="T36" fmla="*/ 327 w 398"/>
                  <a:gd name="T37" fmla="*/ 152 h 317"/>
                  <a:gd name="T38" fmla="*/ 373 w 398"/>
                  <a:gd name="T39" fmla="*/ 195 h 317"/>
                  <a:gd name="T40" fmla="*/ 398 w 398"/>
                  <a:gd name="T41" fmla="*/ 207 h 317"/>
                  <a:gd name="T42" fmla="*/ 351 w 398"/>
                  <a:gd name="T43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98" h="317">
                    <a:moveTo>
                      <a:pt x="351" y="317"/>
                    </a:moveTo>
                    <a:lnTo>
                      <a:pt x="278" y="281"/>
                    </a:lnTo>
                    <a:cubicBezTo>
                      <a:pt x="266" y="275"/>
                      <a:pt x="253" y="271"/>
                      <a:pt x="239" y="269"/>
                    </a:cubicBezTo>
                    <a:cubicBezTo>
                      <a:pt x="215" y="265"/>
                      <a:pt x="173" y="259"/>
                      <a:pt x="129" y="251"/>
                    </a:cubicBezTo>
                    <a:cubicBezTo>
                      <a:pt x="93" y="244"/>
                      <a:pt x="61" y="222"/>
                      <a:pt x="43" y="190"/>
                    </a:cubicBezTo>
                    <a:cubicBezTo>
                      <a:pt x="28" y="165"/>
                      <a:pt x="12" y="132"/>
                      <a:pt x="4" y="99"/>
                    </a:cubicBezTo>
                    <a:cubicBezTo>
                      <a:pt x="3" y="94"/>
                      <a:pt x="2" y="88"/>
                      <a:pt x="1" y="83"/>
                    </a:cubicBezTo>
                    <a:cubicBezTo>
                      <a:pt x="0" y="79"/>
                      <a:pt x="1" y="75"/>
                      <a:pt x="4" y="72"/>
                    </a:cubicBezTo>
                    <a:cubicBezTo>
                      <a:pt x="7" y="68"/>
                      <a:pt x="11" y="66"/>
                      <a:pt x="15" y="66"/>
                    </a:cubicBezTo>
                    <a:cubicBezTo>
                      <a:pt x="17" y="66"/>
                      <a:pt x="19" y="66"/>
                      <a:pt x="21" y="67"/>
                    </a:cubicBezTo>
                    <a:lnTo>
                      <a:pt x="106" y="100"/>
                    </a:lnTo>
                    <a:cubicBezTo>
                      <a:pt x="118" y="105"/>
                      <a:pt x="131" y="107"/>
                      <a:pt x="144" y="107"/>
                    </a:cubicBezTo>
                    <a:cubicBezTo>
                      <a:pt x="153" y="107"/>
                      <a:pt x="162" y="106"/>
                      <a:pt x="171" y="104"/>
                    </a:cubicBezTo>
                    <a:lnTo>
                      <a:pt x="200" y="97"/>
                    </a:lnTo>
                    <a:cubicBezTo>
                      <a:pt x="200" y="97"/>
                      <a:pt x="179" y="82"/>
                      <a:pt x="160" y="64"/>
                    </a:cubicBezTo>
                    <a:cubicBezTo>
                      <a:pt x="142" y="48"/>
                      <a:pt x="139" y="20"/>
                      <a:pt x="152" y="0"/>
                    </a:cubicBezTo>
                    <a:cubicBezTo>
                      <a:pt x="152" y="0"/>
                      <a:pt x="190" y="35"/>
                      <a:pt x="251" y="65"/>
                    </a:cubicBezTo>
                    <a:cubicBezTo>
                      <a:pt x="274" y="77"/>
                      <a:pt x="294" y="95"/>
                      <a:pt x="308" y="118"/>
                    </a:cubicBezTo>
                    <a:lnTo>
                      <a:pt x="327" y="152"/>
                    </a:lnTo>
                    <a:cubicBezTo>
                      <a:pt x="338" y="170"/>
                      <a:pt x="354" y="185"/>
                      <a:pt x="373" y="195"/>
                    </a:cubicBezTo>
                    <a:lnTo>
                      <a:pt x="398" y="207"/>
                    </a:lnTo>
                    <a:cubicBezTo>
                      <a:pt x="391" y="281"/>
                      <a:pt x="363" y="308"/>
                      <a:pt x="351" y="317"/>
                    </a:cubicBez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0" name="Freeform 175"/>
              <p:cNvSpPr>
                <a:spLocks/>
              </p:cNvSpPr>
              <p:nvPr/>
            </p:nvSpPr>
            <p:spPr bwMode="auto">
              <a:xfrm>
                <a:off x="3680" y="1160"/>
                <a:ext cx="199" cy="322"/>
              </a:xfrm>
              <a:custGeom>
                <a:avLst/>
                <a:gdLst>
                  <a:gd name="T0" fmla="*/ 249 w 415"/>
                  <a:gd name="T1" fmla="*/ 669 h 669"/>
                  <a:gd name="T2" fmla="*/ 0 w 415"/>
                  <a:gd name="T3" fmla="*/ 523 h 669"/>
                  <a:gd name="T4" fmla="*/ 62 w 415"/>
                  <a:gd name="T5" fmla="*/ 452 h 669"/>
                  <a:gd name="T6" fmla="*/ 74 w 415"/>
                  <a:gd name="T7" fmla="*/ 392 h 669"/>
                  <a:gd name="T8" fmla="*/ 73 w 415"/>
                  <a:gd name="T9" fmla="*/ 371 h 669"/>
                  <a:gd name="T10" fmla="*/ 189 w 415"/>
                  <a:gd name="T11" fmla="*/ 427 h 669"/>
                  <a:gd name="T12" fmla="*/ 238 w 415"/>
                  <a:gd name="T13" fmla="*/ 168 h 669"/>
                  <a:gd name="T14" fmla="*/ 281 w 415"/>
                  <a:gd name="T15" fmla="*/ 0 h 669"/>
                  <a:gd name="T16" fmla="*/ 415 w 415"/>
                  <a:gd name="T17" fmla="*/ 259 h 669"/>
                  <a:gd name="T18" fmla="*/ 405 w 415"/>
                  <a:gd name="T19" fmla="*/ 360 h 669"/>
                  <a:gd name="T20" fmla="*/ 405 w 415"/>
                  <a:gd name="T21" fmla="*/ 360 h 669"/>
                  <a:gd name="T22" fmla="*/ 290 w 415"/>
                  <a:gd name="T23" fmla="*/ 662 h 669"/>
                  <a:gd name="T24" fmla="*/ 249 w 415"/>
                  <a:gd name="T25" fmla="*/ 669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5" h="669">
                    <a:moveTo>
                      <a:pt x="249" y="669"/>
                    </a:moveTo>
                    <a:cubicBezTo>
                      <a:pt x="178" y="669"/>
                      <a:pt x="115" y="597"/>
                      <a:pt x="0" y="523"/>
                    </a:cubicBezTo>
                    <a:cubicBezTo>
                      <a:pt x="27" y="506"/>
                      <a:pt x="49" y="481"/>
                      <a:pt x="62" y="452"/>
                    </a:cubicBezTo>
                    <a:cubicBezTo>
                      <a:pt x="70" y="433"/>
                      <a:pt x="74" y="412"/>
                      <a:pt x="74" y="392"/>
                    </a:cubicBezTo>
                    <a:cubicBezTo>
                      <a:pt x="74" y="385"/>
                      <a:pt x="73" y="378"/>
                      <a:pt x="73" y="371"/>
                    </a:cubicBezTo>
                    <a:lnTo>
                      <a:pt x="189" y="427"/>
                    </a:lnTo>
                    <a:cubicBezTo>
                      <a:pt x="189" y="427"/>
                      <a:pt x="225" y="286"/>
                      <a:pt x="238" y="168"/>
                    </a:cubicBezTo>
                    <a:cubicBezTo>
                      <a:pt x="247" y="99"/>
                      <a:pt x="249" y="42"/>
                      <a:pt x="281" y="0"/>
                    </a:cubicBezTo>
                    <a:lnTo>
                      <a:pt x="415" y="259"/>
                    </a:lnTo>
                    <a:cubicBezTo>
                      <a:pt x="414" y="279"/>
                      <a:pt x="411" y="316"/>
                      <a:pt x="405" y="360"/>
                    </a:cubicBezTo>
                    <a:lnTo>
                      <a:pt x="405" y="360"/>
                    </a:lnTo>
                    <a:cubicBezTo>
                      <a:pt x="391" y="474"/>
                      <a:pt x="358" y="635"/>
                      <a:pt x="290" y="662"/>
                    </a:cubicBezTo>
                    <a:cubicBezTo>
                      <a:pt x="276" y="667"/>
                      <a:pt x="262" y="669"/>
                      <a:pt x="249" y="669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1" name="Freeform 176"/>
              <p:cNvSpPr>
                <a:spLocks/>
              </p:cNvSpPr>
              <p:nvPr/>
            </p:nvSpPr>
            <p:spPr bwMode="auto">
              <a:xfrm>
                <a:off x="3637" y="1320"/>
                <a:ext cx="78" cy="92"/>
              </a:xfrm>
              <a:custGeom>
                <a:avLst/>
                <a:gdLst>
                  <a:gd name="T0" fmla="*/ 89 w 163"/>
                  <a:gd name="T1" fmla="*/ 190 h 190"/>
                  <a:gd name="T2" fmla="*/ 0 w 163"/>
                  <a:gd name="T3" fmla="*/ 119 h 190"/>
                  <a:gd name="T4" fmla="*/ 7 w 163"/>
                  <a:gd name="T5" fmla="*/ 115 h 190"/>
                  <a:gd name="T6" fmla="*/ 54 w 163"/>
                  <a:gd name="T7" fmla="*/ 5 h 190"/>
                  <a:gd name="T8" fmla="*/ 54 w 163"/>
                  <a:gd name="T9" fmla="*/ 0 h 190"/>
                  <a:gd name="T10" fmla="*/ 162 w 163"/>
                  <a:gd name="T11" fmla="*/ 38 h 190"/>
                  <a:gd name="T12" fmla="*/ 163 w 163"/>
                  <a:gd name="T13" fmla="*/ 59 h 190"/>
                  <a:gd name="T14" fmla="*/ 151 w 163"/>
                  <a:gd name="T15" fmla="*/ 119 h 190"/>
                  <a:gd name="T16" fmla="*/ 89 w 163"/>
                  <a:gd name="T17" fmla="*/ 190 h 190"/>
                  <a:gd name="T18" fmla="*/ 89 w 163"/>
                  <a:gd name="T19" fmla="*/ 19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3" h="190">
                    <a:moveTo>
                      <a:pt x="89" y="190"/>
                    </a:moveTo>
                    <a:cubicBezTo>
                      <a:pt x="61" y="171"/>
                      <a:pt x="24" y="140"/>
                      <a:pt x="0" y="119"/>
                    </a:cubicBezTo>
                    <a:cubicBezTo>
                      <a:pt x="0" y="119"/>
                      <a:pt x="3" y="118"/>
                      <a:pt x="7" y="115"/>
                    </a:cubicBezTo>
                    <a:cubicBezTo>
                      <a:pt x="19" y="106"/>
                      <a:pt x="47" y="79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lnTo>
                      <a:pt x="162" y="38"/>
                    </a:lnTo>
                    <a:cubicBezTo>
                      <a:pt x="162" y="45"/>
                      <a:pt x="163" y="52"/>
                      <a:pt x="163" y="59"/>
                    </a:cubicBezTo>
                    <a:cubicBezTo>
                      <a:pt x="163" y="79"/>
                      <a:pt x="159" y="100"/>
                      <a:pt x="151" y="119"/>
                    </a:cubicBezTo>
                    <a:cubicBezTo>
                      <a:pt x="138" y="148"/>
                      <a:pt x="116" y="173"/>
                      <a:pt x="89" y="190"/>
                    </a:cubicBezTo>
                    <a:lnTo>
                      <a:pt x="89" y="190"/>
                    </a:lnTo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2" name="Freeform 177"/>
              <p:cNvSpPr>
                <a:spLocks noEditPoints="1"/>
              </p:cNvSpPr>
              <p:nvPr/>
            </p:nvSpPr>
            <p:spPr bwMode="auto">
              <a:xfrm>
                <a:off x="2294" y="1789"/>
                <a:ext cx="1086" cy="530"/>
              </a:xfrm>
              <a:custGeom>
                <a:avLst/>
                <a:gdLst>
                  <a:gd name="T0" fmla="*/ 185 w 2262"/>
                  <a:gd name="T1" fmla="*/ 1104 h 1104"/>
                  <a:gd name="T2" fmla="*/ 0 w 2262"/>
                  <a:gd name="T3" fmla="*/ 1059 h 1104"/>
                  <a:gd name="T4" fmla="*/ 1078 w 2262"/>
                  <a:gd name="T5" fmla="*/ 436 h 1104"/>
                  <a:gd name="T6" fmla="*/ 1078 w 2262"/>
                  <a:gd name="T7" fmla="*/ 614 h 1104"/>
                  <a:gd name="T8" fmla="*/ 518 w 2262"/>
                  <a:gd name="T9" fmla="*/ 883 h 1104"/>
                  <a:gd name="T10" fmla="*/ 185 w 2262"/>
                  <a:gd name="T11" fmla="*/ 1104 h 1104"/>
                  <a:gd name="T12" fmla="*/ 1162 w 2262"/>
                  <a:gd name="T13" fmla="*/ 582 h 1104"/>
                  <a:gd name="T14" fmla="*/ 1162 w 2262"/>
                  <a:gd name="T15" fmla="*/ 388 h 1104"/>
                  <a:gd name="T16" fmla="*/ 1834 w 2262"/>
                  <a:gd name="T17" fmla="*/ 0 h 1104"/>
                  <a:gd name="T18" fmla="*/ 2262 w 2262"/>
                  <a:gd name="T19" fmla="*/ 307 h 1104"/>
                  <a:gd name="T20" fmla="*/ 1162 w 2262"/>
                  <a:gd name="T21" fmla="*/ 582 h 1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2" h="1104">
                    <a:moveTo>
                      <a:pt x="185" y="1104"/>
                    </a:moveTo>
                    <a:lnTo>
                      <a:pt x="0" y="1059"/>
                    </a:lnTo>
                    <a:lnTo>
                      <a:pt x="1078" y="436"/>
                    </a:lnTo>
                    <a:lnTo>
                      <a:pt x="1078" y="614"/>
                    </a:lnTo>
                    <a:cubicBezTo>
                      <a:pt x="881" y="691"/>
                      <a:pt x="693" y="781"/>
                      <a:pt x="518" y="883"/>
                    </a:cubicBezTo>
                    <a:cubicBezTo>
                      <a:pt x="397" y="953"/>
                      <a:pt x="286" y="1027"/>
                      <a:pt x="185" y="1104"/>
                    </a:cubicBezTo>
                    <a:close/>
                    <a:moveTo>
                      <a:pt x="1162" y="582"/>
                    </a:moveTo>
                    <a:lnTo>
                      <a:pt x="1162" y="388"/>
                    </a:lnTo>
                    <a:lnTo>
                      <a:pt x="1834" y="0"/>
                    </a:lnTo>
                    <a:lnTo>
                      <a:pt x="2262" y="307"/>
                    </a:lnTo>
                    <a:cubicBezTo>
                      <a:pt x="1878" y="363"/>
                      <a:pt x="1506" y="455"/>
                      <a:pt x="1162" y="582"/>
                    </a:cubicBez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3" name="Freeform 178"/>
              <p:cNvSpPr>
                <a:spLocks noEditPoints="1"/>
              </p:cNvSpPr>
              <p:nvPr/>
            </p:nvSpPr>
            <p:spPr bwMode="auto">
              <a:xfrm>
                <a:off x="2383" y="1936"/>
                <a:ext cx="2106" cy="893"/>
              </a:xfrm>
              <a:custGeom>
                <a:avLst/>
                <a:gdLst>
                  <a:gd name="T0" fmla="*/ 4386 w 4386"/>
                  <a:gd name="T1" fmla="*/ 1858 h 1858"/>
                  <a:gd name="T2" fmla="*/ 1795 w 4386"/>
                  <a:gd name="T3" fmla="*/ 1231 h 1858"/>
                  <a:gd name="T4" fmla="*/ 1792 w 4386"/>
                  <a:gd name="T5" fmla="*/ 1162 h 1858"/>
                  <a:gd name="T6" fmla="*/ 1598 w 4386"/>
                  <a:gd name="T7" fmla="*/ 1155 h 1858"/>
                  <a:gd name="T8" fmla="*/ 1442 w 4386"/>
                  <a:gd name="T9" fmla="*/ 869 h 1858"/>
                  <a:gd name="T10" fmla="*/ 2466 w 4386"/>
                  <a:gd name="T11" fmla="*/ 278 h 1858"/>
                  <a:gd name="T12" fmla="*/ 3040 w 4386"/>
                  <a:gd name="T13" fmla="*/ 690 h 1858"/>
                  <a:gd name="T14" fmla="*/ 3040 w 4386"/>
                  <a:gd name="T15" fmla="*/ 715 h 1858"/>
                  <a:gd name="T16" fmla="*/ 2882 w 4386"/>
                  <a:gd name="T17" fmla="*/ 784 h 1858"/>
                  <a:gd name="T18" fmla="*/ 2885 w 4386"/>
                  <a:gd name="T19" fmla="*/ 1353 h 1858"/>
                  <a:gd name="T20" fmla="*/ 3376 w 4386"/>
                  <a:gd name="T21" fmla="*/ 1471 h 1858"/>
                  <a:gd name="T22" fmla="*/ 3867 w 4386"/>
                  <a:gd name="T23" fmla="*/ 1353 h 1858"/>
                  <a:gd name="T24" fmla="*/ 3918 w 4386"/>
                  <a:gd name="T25" fmla="*/ 1320 h 1858"/>
                  <a:gd name="T26" fmla="*/ 4386 w 4386"/>
                  <a:gd name="T27" fmla="*/ 1656 h 1858"/>
                  <a:gd name="T28" fmla="*/ 4386 w 4386"/>
                  <a:gd name="T29" fmla="*/ 1858 h 1858"/>
                  <a:gd name="T30" fmla="*/ 350 w 4386"/>
                  <a:gd name="T31" fmla="*/ 881 h 1858"/>
                  <a:gd name="T32" fmla="*/ 0 w 4386"/>
                  <a:gd name="T33" fmla="*/ 797 h 1858"/>
                  <a:gd name="T34" fmla="*/ 333 w 4386"/>
                  <a:gd name="T35" fmla="*/ 576 h 1858"/>
                  <a:gd name="T36" fmla="*/ 893 w 4386"/>
                  <a:gd name="T37" fmla="*/ 307 h 1858"/>
                  <a:gd name="T38" fmla="*/ 893 w 4386"/>
                  <a:gd name="T39" fmla="*/ 528 h 1858"/>
                  <a:gd name="T40" fmla="*/ 831 w 4386"/>
                  <a:gd name="T41" fmla="*/ 550 h 1858"/>
                  <a:gd name="T42" fmla="*/ 788 w 4386"/>
                  <a:gd name="T43" fmla="*/ 610 h 1858"/>
                  <a:gd name="T44" fmla="*/ 788 w 4386"/>
                  <a:gd name="T45" fmla="*/ 610 h 1858"/>
                  <a:gd name="T46" fmla="*/ 788 w 4386"/>
                  <a:gd name="T47" fmla="*/ 681 h 1858"/>
                  <a:gd name="T48" fmla="*/ 728 w 4386"/>
                  <a:gd name="T49" fmla="*/ 735 h 1858"/>
                  <a:gd name="T50" fmla="*/ 413 w 4386"/>
                  <a:gd name="T51" fmla="*/ 839 h 1858"/>
                  <a:gd name="T52" fmla="*/ 350 w 4386"/>
                  <a:gd name="T53" fmla="*/ 881 h 1858"/>
                  <a:gd name="T54" fmla="*/ 1116 w 4386"/>
                  <a:gd name="T55" fmla="*/ 712 h 1858"/>
                  <a:gd name="T56" fmla="*/ 1082 w 4386"/>
                  <a:gd name="T57" fmla="*/ 681 h 1858"/>
                  <a:gd name="T58" fmla="*/ 1082 w 4386"/>
                  <a:gd name="T59" fmla="*/ 611 h 1858"/>
                  <a:gd name="T60" fmla="*/ 1082 w 4386"/>
                  <a:gd name="T61" fmla="*/ 610 h 1858"/>
                  <a:gd name="T62" fmla="*/ 1082 w 4386"/>
                  <a:gd name="T63" fmla="*/ 610 h 1858"/>
                  <a:gd name="T64" fmla="*/ 1039 w 4386"/>
                  <a:gd name="T65" fmla="*/ 550 h 1858"/>
                  <a:gd name="T66" fmla="*/ 977 w 4386"/>
                  <a:gd name="T67" fmla="*/ 529 h 1858"/>
                  <a:gd name="T68" fmla="*/ 977 w 4386"/>
                  <a:gd name="T69" fmla="*/ 275 h 1858"/>
                  <a:gd name="T70" fmla="*/ 2077 w 4386"/>
                  <a:gd name="T71" fmla="*/ 0 h 1858"/>
                  <a:gd name="T72" fmla="*/ 2199 w 4386"/>
                  <a:gd name="T73" fmla="*/ 87 h 1858"/>
                  <a:gd name="T74" fmla="*/ 1116 w 4386"/>
                  <a:gd name="T75" fmla="*/ 712 h 1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386" h="1858">
                    <a:moveTo>
                      <a:pt x="4386" y="1858"/>
                    </a:moveTo>
                    <a:lnTo>
                      <a:pt x="1795" y="1231"/>
                    </a:lnTo>
                    <a:lnTo>
                      <a:pt x="1792" y="1162"/>
                    </a:lnTo>
                    <a:lnTo>
                      <a:pt x="1598" y="1155"/>
                    </a:lnTo>
                    <a:cubicBezTo>
                      <a:pt x="1611" y="1055"/>
                      <a:pt x="1559" y="952"/>
                      <a:pt x="1442" y="869"/>
                    </a:cubicBezTo>
                    <a:lnTo>
                      <a:pt x="2466" y="278"/>
                    </a:lnTo>
                    <a:lnTo>
                      <a:pt x="3040" y="690"/>
                    </a:lnTo>
                    <a:cubicBezTo>
                      <a:pt x="3040" y="698"/>
                      <a:pt x="3040" y="707"/>
                      <a:pt x="3040" y="715"/>
                    </a:cubicBezTo>
                    <a:cubicBezTo>
                      <a:pt x="2983" y="733"/>
                      <a:pt x="2930" y="756"/>
                      <a:pt x="2882" y="784"/>
                    </a:cubicBezTo>
                    <a:cubicBezTo>
                      <a:pt x="2611" y="941"/>
                      <a:pt x="2613" y="1196"/>
                      <a:pt x="2885" y="1353"/>
                    </a:cubicBezTo>
                    <a:cubicBezTo>
                      <a:pt x="3021" y="1431"/>
                      <a:pt x="3199" y="1471"/>
                      <a:pt x="3376" y="1471"/>
                    </a:cubicBezTo>
                    <a:cubicBezTo>
                      <a:pt x="3554" y="1471"/>
                      <a:pt x="3731" y="1431"/>
                      <a:pt x="3867" y="1353"/>
                    </a:cubicBezTo>
                    <a:cubicBezTo>
                      <a:pt x="3885" y="1342"/>
                      <a:pt x="3902" y="1331"/>
                      <a:pt x="3918" y="1320"/>
                    </a:cubicBezTo>
                    <a:lnTo>
                      <a:pt x="4386" y="1656"/>
                    </a:lnTo>
                    <a:lnTo>
                      <a:pt x="4386" y="1858"/>
                    </a:lnTo>
                    <a:moveTo>
                      <a:pt x="350" y="881"/>
                    </a:moveTo>
                    <a:lnTo>
                      <a:pt x="0" y="797"/>
                    </a:lnTo>
                    <a:cubicBezTo>
                      <a:pt x="101" y="720"/>
                      <a:pt x="212" y="646"/>
                      <a:pt x="333" y="576"/>
                    </a:cubicBezTo>
                    <a:cubicBezTo>
                      <a:pt x="508" y="474"/>
                      <a:pt x="696" y="384"/>
                      <a:pt x="893" y="307"/>
                    </a:cubicBezTo>
                    <a:lnTo>
                      <a:pt x="893" y="528"/>
                    </a:lnTo>
                    <a:cubicBezTo>
                      <a:pt x="870" y="532"/>
                      <a:pt x="849" y="540"/>
                      <a:pt x="831" y="550"/>
                    </a:cubicBezTo>
                    <a:cubicBezTo>
                      <a:pt x="802" y="567"/>
                      <a:pt x="788" y="588"/>
                      <a:pt x="788" y="610"/>
                    </a:cubicBezTo>
                    <a:lnTo>
                      <a:pt x="788" y="610"/>
                    </a:lnTo>
                    <a:lnTo>
                      <a:pt x="788" y="681"/>
                    </a:lnTo>
                    <a:lnTo>
                      <a:pt x="728" y="735"/>
                    </a:lnTo>
                    <a:cubicBezTo>
                      <a:pt x="613" y="752"/>
                      <a:pt x="504" y="787"/>
                      <a:pt x="413" y="839"/>
                    </a:cubicBezTo>
                    <a:cubicBezTo>
                      <a:pt x="390" y="853"/>
                      <a:pt x="369" y="867"/>
                      <a:pt x="350" y="881"/>
                    </a:cubicBezTo>
                    <a:moveTo>
                      <a:pt x="1116" y="712"/>
                    </a:moveTo>
                    <a:lnTo>
                      <a:pt x="1082" y="681"/>
                    </a:lnTo>
                    <a:lnTo>
                      <a:pt x="1082" y="611"/>
                    </a:lnTo>
                    <a:lnTo>
                      <a:pt x="1082" y="610"/>
                    </a:lnTo>
                    <a:lnTo>
                      <a:pt x="1082" y="610"/>
                    </a:lnTo>
                    <a:cubicBezTo>
                      <a:pt x="1082" y="588"/>
                      <a:pt x="1068" y="567"/>
                      <a:pt x="1039" y="550"/>
                    </a:cubicBezTo>
                    <a:cubicBezTo>
                      <a:pt x="1021" y="540"/>
                      <a:pt x="999" y="533"/>
                      <a:pt x="977" y="529"/>
                    </a:cubicBezTo>
                    <a:lnTo>
                      <a:pt x="977" y="275"/>
                    </a:lnTo>
                    <a:cubicBezTo>
                      <a:pt x="1321" y="148"/>
                      <a:pt x="1693" y="56"/>
                      <a:pt x="2077" y="0"/>
                    </a:cubicBezTo>
                    <a:lnTo>
                      <a:pt x="2199" y="87"/>
                    </a:lnTo>
                    <a:lnTo>
                      <a:pt x="1116" y="712"/>
                    </a:lnTo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4" name="Freeform 179"/>
              <p:cNvSpPr>
                <a:spLocks noEditPoints="1"/>
              </p:cNvSpPr>
              <p:nvPr/>
            </p:nvSpPr>
            <p:spPr bwMode="auto">
              <a:xfrm>
                <a:off x="2551" y="1978"/>
                <a:ext cx="1016" cy="513"/>
              </a:xfrm>
              <a:custGeom>
                <a:avLst/>
                <a:gdLst>
                  <a:gd name="T0" fmla="*/ 1248 w 2116"/>
                  <a:gd name="T1" fmla="*/ 1068 h 1068"/>
                  <a:gd name="T2" fmla="*/ 1114 w 2116"/>
                  <a:gd name="T3" fmla="*/ 1064 h 1068"/>
                  <a:gd name="T4" fmla="*/ 610 w 2116"/>
                  <a:gd name="T5" fmla="*/ 942 h 1068"/>
                  <a:gd name="T6" fmla="*/ 610 w 2116"/>
                  <a:gd name="T7" fmla="*/ 693 h 1068"/>
                  <a:gd name="T8" fmla="*/ 689 w 2116"/>
                  <a:gd name="T9" fmla="*/ 669 h 1068"/>
                  <a:gd name="T10" fmla="*/ 717 w 2116"/>
                  <a:gd name="T11" fmla="*/ 647 h 1068"/>
                  <a:gd name="T12" fmla="*/ 1086 w 2116"/>
                  <a:gd name="T13" fmla="*/ 981 h 1068"/>
                  <a:gd name="T14" fmla="*/ 1122 w 2116"/>
                  <a:gd name="T15" fmla="*/ 945 h 1068"/>
                  <a:gd name="T16" fmla="*/ 766 w 2116"/>
                  <a:gd name="T17" fmla="*/ 625 h 1068"/>
                  <a:gd name="T18" fmla="*/ 1849 w 2116"/>
                  <a:gd name="T19" fmla="*/ 0 h 1068"/>
                  <a:gd name="T20" fmla="*/ 2116 w 2116"/>
                  <a:gd name="T21" fmla="*/ 191 h 1068"/>
                  <a:gd name="T22" fmla="*/ 1092 w 2116"/>
                  <a:gd name="T23" fmla="*/ 782 h 1068"/>
                  <a:gd name="T24" fmla="*/ 1248 w 2116"/>
                  <a:gd name="T25" fmla="*/ 1068 h 1068"/>
                  <a:gd name="T26" fmla="*/ 1122 w 2116"/>
                  <a:gd name="T27" fmla="*/ 945 h 1068"/>
                  <a:gd name="T28" fmla="*/ 1086 w 2116"/>
                  <a:gd name="T29" fmla="*/ 981 h 1068"/>
                  <a:gd name="T30" fmla="*/ 1168 w 2116"/>
                  <a:gd name="T31" fmla="*/ 1054 h 1068"/>
                  <a:gd name="T32" fmla="*/ 1185 w 2116"/>
                  <a:gd name="T33" fmla="*/ 1061 h 1068"/>
                  <a:gd name="T34" fmla="*/ 1203 w 2116"/>
                  <a:gd name="T35" fmla="*/ 1053 h 1068"/>
                  <a:gd name="T36" fmla="*/ 1201 w 2116"/>
                  <a:gd name="T37" fmla="*/ 1017 h 1068"/>
                  <a:gd name="T38" fmla="*/ 1122 w 2116"/>
                  <a:gd name="T39" fmla="*/ 945 h 1068"/>
                  <a:gd name="T40" fmla="*/ 560 w 2116"/>
                  <a:gd name="T41" fmla="*/ 930 h 1068"/>
                  <a:gd name="T42" fmla="*/ 229 w 2116"/>
                  <a:gd name="T43" fmla="*/ 850 h 1068"/>
                  <a:gd name="T44" fmla="*/ 454 w 2116"/>
                  <a:gd name="T45" fmla="*/ 647 h 1068"/>
                  <a:gd name="T46" fmla="*/ 481 w 2116"/>
                  <a:gd name="T47" fmla="*/ 669 h 1068"/>
                  <a:gd name="T48" fmla="*/ 560 w 2116"/>
                  <a:gd name="T49" fmla="*/ 692 h 1068"/>
                  <a:gd name="T50" fmla="*/ 560 w 2116"/>
                  <a:gd name="T51" fmla="*/ 930 h 1068"/>
                  <a:gd name="T52" fmla="*/ 170 w 2116"/>
                  <a:gd name="T53" fmla="*/ 836 h 1068"/>
                  <a:gd name="T54" fmla="*/ 0 w 2116"/>
                  <a:gd name="T55" fmla="*/ 794 h 1068"/>
                  <a:gd name="T56" fmla="*/ 63 w 2116"/>
                  <a:gd name="T57" fmla="*/ 752 h 1068"/>
                  <a:gd name="T58" fmla="*/ 378 w 2116"/>
                  <a:gd name="T59" fmla="*/ 648 h 1068"/>
                  <a:gd name="T60" fmla="*/ 170 w 2116"/>
                  <a:gd name="T61" fmla="*/ 836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16" h="1068">
                    <a:moveTo>
                      <a:pt x="1248" y="1068"/>
                    </a:moveTo>
                    <a:lnTo>
                      <a:pt x="1114" y="1064"/>
                    </a:lnTo>
                    <a:lnTo>
                      <a:pt x="610" y="942"/>
                    </a:lnTo>
                    <a:lnTo>
                      <a:pt x="610" y="693"/>
                    </a:lnTo>
                    <a:cubicBezTo>
                      <a:pt x="639" y="690"/>
                      <a:pt x="667" y="682"/>
                      <a:pt x="689" y="669"/>
                    </a:cubicBezTo>
                    <a:cubicBezTo>
                      <a:pt x="701" y="662"/>
                      <a:pt x="710" y="655"/>
                      <a:pt x="717" y="647"/>
                    </a:cubicBezTo>
                    <a:lnTo>
                      <a:pt x="1086" y="981"/>
                    </a:lnTo>
                    <a:lnTo>
                      <a:pt x="1122" y="945"/>
                    </a:lnTo>
                    <a:lnTo>
                      <a:pt x="766" y="625"/>
                    </a:lnTo>
                    <a:lnTo>
                      <a:pt x="1849" y="0"/>
                    </a:lnTo>
                    <a:lnTo>
                      <a:pt x="2116" y="191"/>
                    </a:lnTo>
                    <a:lnTo>
                      <a:pt x="1092" y="782"/>
                    </a:lnTo>
                    <a:cubicBezTo>
                      <a:pt x="1209" y="865"/>
                      <a:pt x="1261" y="968"/>
                      <a:pt x="1248" y="1068"/>
                    </a:cubicBezTo>
                    <a:close/>
                    <a:moveTo>
                      <a:pt x="1122" y="945"/>
                    </a:moveTo>
                    <a:lnTo>
                      <a:pt x="1086" y="981"/>
                    </a:lnTo>
                    <a:lnTo>
                      <a:pt x="1168" y="1054"/>
                    </a:lnTo>
                    <a:cubicBezTo>
                      <a:pt x="1173" y="1059"/>
                      <a:pt x="1179" y="1061"/>
                      <a:pt x="1185" y="1061"/>
                    </a:cubicBezTo>
                    <a:cubicBezTo>
                      <a:pt x="1191" y="1061"/>
                      <a:pt x="1198" y="1058"/>
                      <a:pt x="1203" y="1053"/>
                    </a:cubicBezTo>
                    <a:cubicBezTo>
                      <a:pt x="1212" y="1042"/>
                      <a:pt x="1212" y="1027"/>
                      <a:pt x="1201" y="1017"/>
                    </a:cubicBezTo>
                    <a:lnTo>
                      <a:pt x="1122" y="945"/>
                    </a:lnTo>
                    <a:close/>
                    <a:moveTo>
                      <a:pt x="560" y="930"/>
                    </a:moveTo>
                    <a:lnTo>
                      <a:pt x="229" y="850"/>
                    </a:lnTo>
                    <a:lnTo>
                      <a:pt x="454" y="647"/>
                    </a:lnTo>
                    <a:cubicBezTo>
                      <a:pt x="461" y="655"/>
                      <a:pt x="470" y="662"/>
                      <a:pt x="481" y="669"/>
                    </a:cubicBezTo>
                    <a:cubicBezTo>
                      <a:pt x="504" y="682"/>
                      <a:pt x="531" y="689"/>
                      <a:pt x="560" y="692"/>
                    </a:cubicBezTo>
                    <a:lnTo>
                      <a:pt x="560" y="930"/>
                    </a:lnTo>
                    <a:moveTo>
                      <a:pt x="170" y="836"/>
                    </a:moveTo>
                    <a:lnTo>
                      <a:pt x="0" y="794"/>
                    </a:lnTo>
                    <a:cubicBezTo>
                      <a:pt x="19" y="780"/>
                      <a:pt x="40" y="766"/>
                      <a:pt x="63" y="752"/>
                    </a:cubicBezTo>
                    <a:cubicBezTo>
                      <a:pt x="154" y="700"/>
                      <a:pt x="263" y="665"/>
                      <a:pt x="378" y="648"/>
                    </a:cubicBezTo>
                    <a:lnTo>
                      <a:pt x="170" y="836"/>
                    </a:ln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5" name="Freeform 180"/>
              <p:cNvSpPr>
                <a:spLocks/>
              </p:cNvSpPr>
              <p:nvPr/>
            </p:nvSpPr>
            <p:spPr bwMode="auto">
              <a:xfrm>
                <a:off x="3636" y="2280"/>
                <a:ext cx="628" cy="363"/>
              </a:xfrm>
              <a:custGeom>
                <a:avLst/>
                <a:gdLst>
                  <a:gd name="T0" fmla="*/ 765 w 1307"/>
                  <a:gd name="T1" fmla="*/ 756 h 756"/>
                  <a:gd name="T2" fmla="*/ 274 w 1307"/>
                  <a:gd name="T3" fmla="*/ 638 h 756"/>
                  <a:gd name="T4" fmla="*/ 271 w 1307"/>
                  <a:gd name="T5" fmla="*/ 69 h 756"/>
                  <a:gd name="T6" fmla="*/ 429 w 1307"/>
                  <a:gd name="T7" fmla="*/ 0 h 756"/>
                  <a:gd name="T8" fmla="*/ 431 w 1307"/>
                  <a:gd name="T9" fmla="*/ 140 h 756"/>
                  <a:gd name="T10" fmla="*/ 452 w 1307"/>
                  <a:gd name="T11" fmla="*/ 155 h 756"/>
                  <a:gd name="T12" fmla="*/ 433 w 1307"/>
                  <a:gd name="T13" fmla="*/ 216 h 756"/>
                  <a:gd name="T14" fmla="*/ 433 w 1307"/>
                  <a:gd name="T15" fmla="*/ 216 h 756"/>
                  <a:gd name="T16" fmla="*/ 432 w 1307"/>
                  <a:gd name="T17" fmla="*/ 226 h 756"/>
                  <a:gd name="T18" fmla="*/ 440 w 1307"/>
                  <a:gd name="T19" fmla="*/ 249 h 756"/>
                  <a:gd name="T20" fmla="*/ 452 w 1307"/>
                  <a:gd name="T21" fmla="*/ 262 h 756"/>
                  <a:gd name="T22" fmla="*/ 481 w 1307"/>
                  <a:gd name="T23" fmla="*/ 327 h 756"/>
                  <a:gd name="T24" fmla="*/ 486 w 1307"/>
                  <a:gd name="T25" fmla="*/ 380 h 756"/>
                  <a:gd name="T26" fmla="*/ 535 w 1307"/>
                  <a:gd name="T27" fmla="*/ 458 h 756"/>
                  <a:gd name="T28" fmla="*/ 612 w 1307"/>
                  <a:gd name="T29" fmla="*/ 478 h 756"/>
                  <a:gd name="T30" fmla="*/ 632 w 1307"/>
                  <a:gd name="T31" fmla="*/ 479 h 756"/>
                  <a:gd name="T32" fmla="*/ 683 w 1307"/>
                  <a:gd name="T33" fmla="*/ 471 h 756"/>
                  <a:gd name="T34" fmla="*/ 730 w 1307"/>
                  <a:gd name="T35" fmla="*/ 421 h 756"/>
                  <a:gd name="T36" fmla="*/ 730 w 1307"/>
                  <a:gd name="T37" fmla="*/ 420 h 756"/>
                  <a:gd name="T38" fmla="*/ 730 w 1307"/>
                  <a:gd name="T39" fmla="*/ 420 h 756"/>
                  <a:gd name="T40" fmla="*/ 722 w 1307"/>
                  <a:gd name="T41" fmla="*/ 370 h 756"/>
                  <a:gd name="T42" fmla="*/ 692 w 1307"/>
                  <a:gd name="T43" fmla="*/ 326 h 756"/>
                  <a:gd name="T44" fmla="*/ 635 w 1307"/>
                  <a:gd name="T45" fmla="*/ 232 h 756"/>
                  <a:gd name="T46" fmla="*/ 619 w 1307"/>
                  <a:gd name="T47" fmla="*/ 153 h 756"/>
                  <a:gd name="T48" fmla="*/ 640 w 1307"/>
                  <a:gd name="T49" fmla="*/ 140 h 756"/>
                  <a:gd name="T50" fmla="*/ 642 w 1307"/>
                  <a:gd name="T51" fmla="*/ 128 h 756"/>
                  <a:gd name="T52" fmla="*/ 1307 w 1307"/>
                  <a:gd name="T53" fmla="*/ 605 h 756"/>
                  <a:gd name="T54" fmla="*/ 1256 w 1307"/>
                  <a:gd name="T55" fmla="*/ 638 h 756"/>
                  <a:gd name="T56" fmla="*/ 765 w 1307"/>
                  <a:gd name="T57" fmla="*/ 75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07" h="756">
                    <a:moveTo>
                      <a:pt x="765" y="756"/>
                    </a:moveTo>
                    <a:cubicBezTo>
                      <a:pt x="588" y="756"/>
                      <a:pt x="410" y="716"/>
                      <a:pt x="274" y="638"/>
                    </a:cubicBezTo>
                    <a:cubicBezTo>
                      <a:pt x="2" y="481"/>
                      <a:pt x="0" y="226"/>
                      <a:pt x="271" y="69"/>
                    </a:cubicBezTo>
                    <a:cubicBezTo>
                      <a:pt x="319" y="41"/>
                      <a:pt x="372" y="18"/>
                      <a:pt x="429" y="0"/>
                    </a:cubicBezTo>
                    <a:cubicBezTo>
                      <a:pt x="430" y="48"/>
                      <a:pt x="431" y="94"/>
                      <a:pt x="431" y="140"/>
                    </a:cubicBezTo>
                    <a:cubicBezTo>
                      <a:pt x="431" y="140"/>
                      <a:pt x="438" y="147"/>
                      <a:pt x="452" y="155"/>
                    </a:cubicBezTo>
                    <a:cubicBezTo>
                      <a:pt x="445" y="168"/>
                      <a:pt x="437" y="190"/>
                      <a:pt x="433" y="216"/>
                    </a:cubicBezTo>
                    <a:lnTo>
                      <a:pt x="433" y="216"/>
                    </a:lnTo>
                    <a:cubicBezTo>
                      <a:pt x="433" y="219"/>
                      <a:pt x="432" y="222"/>
                      <a:pt x="432" y="226"/>
                    </a:cubicBezTo>
                    <a:cubicBezTo>
                      <a:pt x="431" y="234"/>
                      <a:pt x="434" y="242"/>
                      <a:pt x="440" y="249"/>
                    </a:cubicBezTo>
                    <a:cubicBezTo>
                      <a:pt x="444" y="253"/>
                      <a:pt x="448" y="257"/>
                      <a:pt x="452" y="262"/>
                    </a:cubicBezTo>
                    <a:cubicBezTo>
                      <a:pt x="470" y="279"/>
                      <a:pt x="481" y="302"/>
                      <a:pt x="481" y="327"/>
                    </a:cubicBezTo>
                    <a:cubicBezTo>
                      <a:pt x="481" y="345"/>
                      <a:pt x="482" y="362"/>
                      <a:pt x="486" y="380"/>
                    </a:cubicBezTo>
                    <a:cubicBezTo>
                      <a:pt x="493" y="410"/>
                      <a:pt x="508" y="440"/>
                      <a:pt x="535" y="458"/>
                    </a:cubicBezTo>
                    <a:cubicBezTo>
                      <a:pt x="557" y="472"/>
                      <a:pt x="585" y="476"/>
                      <a:pt x="612" y="478"/>
                    </a:cubicBezTo>
                    <a:cubicBezTo>
                      <a:pt x="618" y="478"/>
                      <a:pt x="625" y="479"/>
                      <a:pt x="632" y="479"/>
                    </a:cubicBezTo>
                    <a:cubicBezTo>
                      <a:pt x="649" y="479"/>
                      <a:pt x="666" y="477"/>
                      <a:pt x="683" y="471"/>
                    </a:cubicBezTo>
                    <a:cubicBezTo>
                      <a:pt x="705" y="462"/>
                      <a:pt x="725" y="444"/>
                      <a:pt x="730" y="421"/>
                    </a:cubicBezTo>
                    <a:lnTo>
                      <a:pt x="730" y="420"/>
                    </a:lnTo>
                    <a:lnTo>
                      <a:pt x="730" y="420"/>
                    </a:lnTo>
                    <a:cubicBezTo>
                      <a:pt x="734" y="403"/>
                      <a:pt x="730" y="385"/>
                      <a:pt x="722" y="370"/>
                    </a:cubicBezTo>
                    <a:cubicBezTo>
                      <a:pt x="714" y="354"/>
                      <a:pt x="703" y="340"/>
                      <a:pt x="692" y="326"/>
                    </a:cubicBezTo>
                    <a:cubicBezTo>
                      <a:pt x="670" y="297"/>
                      <a:pt x="649" y="266"/>
                      <a:pt x="635" y="232"/>
                    </a:cubicBezTo>
                    <a:cubicBezTo>
                      <a:pt x="625" y="207"/>
                      <a:pt x="618" y="180"/>
                      <a:pt x="619" y="153"/>
                    </a:cubicBezTo>
                    <a:cubicBezTo>
                      <a:pt x="626" y="149"/>
                      <a:pt x="633" y="145"/>
                      <a:pt x="640" y="140"/>
                    </a:cubicBezTo>
                    <a:lnTo>
                      <a:pt x="642" y="128"/>
                    </a:lnTo>
                    <a:lnTo>
                      <a:pt x="1307" y="605"/>
                    </a:lnTo>
                    <a:cubicBezTo>
                      <a:pt x="1291" y="616"/>
                      <a:pt x="1274" y="627"/>
                      <a:pt x="1256" y="638"/>
                    </a:cubicBezTo>
                    <a:cubicBezTo>
                      <a:pt x="1120" y="716"/>
                      <a:pt x="943" y="756"/>
                      <a:pt x="765" y="756"/>
                    </a:cubicBezTo>
                  </a:path>
                </a:pathLst>
              </a:custGeom>
              <a:solidFill>
                <a:srgbClr val="E7AB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6" name="Freeform 181"/>
              <p:cNvSpPr>
                <a:spLocks/>
              </p:cNvSpPr>
              <p:nvPr/>
            </p:nvSpPr>
            <p:spPr bwMode="auto">
              <a:xfrm>
                <a:off x="2820" y="2310"/>
                <a:ext cx="24" cy="120"/>
              </a:xfrm>
              <a:custGeom>
                <a:avLst/>
                <a:gdLst>
                  <a:gd name="T0" fmla="*/ 50 w 50"/>
                  <a:gd name="T1" fmla="*/ 250 h 250"/>
                  <a:gd name="T2" fmla="*/ 0 w 50"/>
                  <a:gd name="T3" fmla="*/ 238 h 250"/>
                  <a:gd name="T4" fmla="*/ 0 w 50"/>
                  <a:gd name="T5" fmla="*/ 0 h 250"/>
                  <a:gd name="T6" fmla="*/ 26 w 50"/>
                  <a:gd name="T7" fmla="*/ 2 h 250"/>
                  <a:gd name="T8" fmla="*/ 50 w 50"/>
                  <a:gd name="T9" fmla="*/ 1 h 250"/>
                  <a:gd name="T10" fmla="*/ 50 w 50"/>
                  <a:gd name="T11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250">
                    <a:moveTo>
                      <a:pt x="50" y="250"/>
                    </a:moveTo>
                    <a:lnTo>
                      <a:pt x="0" y="238"/>
                    </a:lnTo>
                    <a:lnTo>
                      <a:pt x="0" y="0"/>
                    </a:lnTo>
                    <a:cubicBezTo>
                      <a:pt x="8" y="1"/>
                      <a:pt x="17" y="2"/>
                      <a:pt x="26" y="2"/>
                    </a:cubicBezTo>
                    <a:cubicBezTo>
                      <a:pt x="34" y="2"/>
                      <a:pt x="42" y="1"/>
                      <a:pt x="50" y="1"/>
                    </a:cubicBezTo>
                    <a:lnTo>
                      <a:pt x="50" y="25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7" name="Freeform 182"/>
              <p:cNvSpPr>
                <a:spLocks/>
              </p:cNvSpPr>
              <p:nvPr/>
            </p:nvSpPr>
            <p:spPr bwMode="auto">
              <a:xfrm>
                <a:off x="2895" y="2263"/>
                <a:ext cx="195" cy="186"/>
              </a:xfrm>
              <a:custGeom>
                <a:avLst/>
                <a:gdLst>
                  <a:gd name="T0" fmla="*/ 369 w 405"/>
                  <a:gd name="T1" fmla="*/ 387 h 387"/>
                  <a:gd name="T2" fmla="*/ 0 w 405"/>
                  <a:gd name="T3" fmla="*/ 53 h 387"/>
                  <a:gd name="T4" fmla="*/ 15 w 405"/>
                  <a:gd name="T5" fmla="*/ 14 h 387"/>
                  <a:gd name="T6" fmla="*/ 15 w 405"/>
                  <a:gd name="T7" fmla="*/ 0 h 387"/>
                  <a:gd name="T8" fmla="*/ 49 w 405"/>
                  <a:gd name="T9" fmla="*/ 31 h 387"/>
                  <a:gd name="T10" fmla="*/ 405 w 405"/>
                  <a:gd name="T11" fmla="*/ 351 h 387"/>
                  <a:gd name="T12" fmla="*/ 369 w 405"/>
                  <a:gd name="T1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5" h="387">
                    <a:moveTo>
                      <a:pt x="369" y="387"/>
                    </a:moveTo>
                    <a:lnTo>
                      <a:pt x="0" y="53"/>
                    </a:lnTo>
                    <a:cubicBezTo>
                      <a:pt x="10" y="41"/>
                      <a:pt x="15" y="28"/>
                      <a:pt x="15" y="14"/>
                    </a:cubicBezTo>
                    <a:lnTo>
                      <a:pt x="15" y="0"/>
                    </a:lnTo>
                    <a:lnTo>
                      <a:pt x="49" y="31"/>
                    </a:lnTo>
                    <a:lnTo>
                      <a:pt x="405" y="351"/>
                    </a:lnTo>
                    <a:lnTo>
                      <a:pt x="369" y="387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8" name="Freeform 183"/>
              <p:cNvSpPr>
                <a:spLocks/>
              </p:cNvSpPr>
              <p:nvPr/>
            </p:nvSpPr>
            <p:spPr bwMode="auto">
              <a:xfrm>
                <a:off x="3072" y="2432"/>
                <a:ext cx="61" cy="56"/>
              </a:xfrm>
              <a:custGeom>
                <a:avLst/>
                <a:gdLst>
                  <a:gd name="T0" fmla="*/ 99 w 126"/>
                  <a:gd name="T1" fmla="*/ 116 h 116"/>
                  <a:gd name="T2" fmla="*/ 82 w 126"/>
                  <a:gd name="T3" fmla="*/ 109 h 116"/>
                  <a:gd name="T4" fmla="*/ 0 w 126"/>
                  <a:gd name="T5" fmla="*/ 36 h 116"/>
                  <a:gd name="T6" fmla="*/ 36 w 126"/>
                  <a:gd name="T7" fmla="*/ 0 h 116"/>
                  <a:gd name="T8" fmla="*/ 115 w 126"/>
                  <a:gd name="T9" fmla="*/ 72 h 116"/>
                  <a:gd name="T10" fmla="*/ 117 w 126"/>
                  <a:gd name="T11" fmla="*/ 108 h 116"/>
                  <a:gd name="T12" fmla="*/ 99 w 126"/>
                  <a:gd name="T13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6">
                    <a:moveTo>
                      <a:pt x="99" y="116"/>
                    </a:moveTo>
                    <a:cubicBezTo>
                      <a:pt x="93" y="116"/>
                      <a:pt x="87" y="114"/>
                      <a:pt x="82" y="109"/>
                    </a:cubicBezTo>
                    <a:lnTo>
                      <a:pt x="0" y="36"/>
                    </a:lnTo>
                    <a:lnTo>
                      <a:pt x="36" y="0"/>
                    </a:lnTo>
                    <a:lnTo>
                      <a:pt x="115" y="72"/>
                    </a:lnTo>
                    <a:cubicBezTo>
                      <a:pt x="126" y="82"/>
                      <a:pt x="126" y="97"/>
                      <a:pt x="117" y="108"/>
                    </a:cubicBezTo>
                    <a:cubicBezTo>
                      <a:pt x="112" y="113"/>
                      <a:pt x="105" y="116"/>
                      <a:pt x="99" y="116"/>
                    </a:cubicBezTo>
                    <a:close/>
                  </a:path>
                </a:pathLst>
              </a:custGeom>
              <a:solidFill>
                <a:srgbClr val="AD58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9" name="Freeform 184"/>
              <p:cNvSpPr>
                <a:spLocks/>
              </p:cNvSpPr>
              <p:nvPr/>
            </p:nvSpPr>
            <p:spPr bwMode="auto">
              <a:xfrm>
                <a:off x="2632" y="2263"/>
                <a:ext cx="137" cy="123"/>
              </a:xfrm>
              <a:custGeom>
                <a:avLst/>
                <a:gdLst>
                  <a:gd name="T0" fmla="*/ 59 w 284"/>
                  <a:gd name="T1" fmla="*/ 256 h 256"/>
                  <a:gd name="T2" fmla="*/ 0 w 284"/>
                  <a:gd name="T3" fmla="*/ 242 h 256"/>
                  <a:gd name="T4" fmla="*/ 208 w 284"/>
                  <a:gd name="T5" fmla="*/ 54 h 256"/>
                  <a:gd name="T6" fmla="*/ 268 w 284"/>
                  <a:gd name="T7" fmla="*/ 0 h 256"/>
                  <a:gd name="T8" fmla="*/ 268 w 284"/>
                  <a:gd name="T9" fmla="*/ 14 h 256"/>
                  <a:gd name="T10" fmla="*/ 284 w 284"/>
                  <a:gd name="T11" fmla="*/ 53 h 256"/>
                  <a:gd name="T12" fmla="*/ 59 w 284"/>
                  <a:gd name="T13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4" h="256">
                    <a:moveTo>
                      <a:pt x="59" y="256"/>
                    </a:moveTo>
                    <a:lnTo>
                      <a:pt x="0" y="242"/>
                    </a:lnTo>
                    <a:lnTo>
                      <a:pt x="208" y="54"/>
                    </a:lnTo>
                    <a:lnTo>
                      <a:pt x="268" y="0"/>
                    </a:lnTo>
                    <a:lnTo>
                      <a:pt x="268" y="14"/>
                    </a:lnTo>
                    <a:cubicBezTo>
                      <a:pt x="268" y="28"/>
                      <a:pt x="273" y="41"/>
                      <a:pt x="284" y="53"/>
                    </a:cubicBezTo>
                    <a:lnTo>
                      <a:pt x="59" y="256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0" name="Freeform 185"/>
              <p:cNvSpPr>
                <a:spLocks noEditPoints="1"/>
              </p:cNvSpPr>
              <p:nvPr/>
            </p:nvSpPr>
            <p:spPr bwMode="auto">
              <a:xfrm>
                <a:off x="2761" y="2229"/>
                <a:ext cx="141" cy="82"/>
              </a:xfrm>
              <a:custGeom>
                <a:avLst/>
                <a:gdLst>
                  <a:gd name="T0" fmla="*/ 148 w 294"/>
                  <a:gd name="T1" fmla="*/ 171 h 171"/>
                  <a:gd name="T2" fmla="*/ 122 w 294"/>
                  <a:gd name="T3" fmla="*/ 169 h 171"/>
                  <a:gd name="T4" fmla="*/ 43 w 294"/>
                  <a:gd name="T5" fmla="*/ 146 h 171"/>
                  <a:gd name="T6" fmla="*/ 16 w 294"/>
                  <a:gd name="T7" fmla="*/ 124 h 171"/>
                  <a:gd name="T8" fmla="*/ 0 w 294"/>
                  <a:gd name="T9" fmla="*/ 85 h 171"/>
                  <a:gd name="T10" fmla="*/ 0 w 294"/>
                  <a:gd name="T11" fmla="*/ 71 h 171"/>
                  <a:gd name="T12" fmla="*/ 0 w 294"/>
                  <a:gd name="T13" fmla="*/ 0 h 171"/>
                  <a:gd name="T14" fmla="*/ 43 w 294"/>
                  <a:gd name="T15" fmla="*/ 61 h 171"/>
                  <a:gd name="T16" fmla="*/ 148 w 294"/>
                  <a:gd name="T17" fmla="*/ 85 h 171"/>
                  <a:gd name="T18" fmla="*/ 251 w 294"/>
                  <a:gd name="T19" fmla="*/ 61 h 171"/>
                  <a:gd name="T20" fmla="*/ 294 w 294"/>
                  <a:gd name="T21" fmla="*/ 1 h 171"/>
                  <a:gd name="T22" fmla="*/ 294 w 294"/>
                  <a:gd name="T23" fmla="*/ 71 h 171"/>
                  <a:gd name="T24" fmla="*/ 294 w 294"/>
                  <a:gd name="T25" fmla="*/ 85 h 171"/>
                  <a:gd name="T26" fmla="*/ 279 w 294"/>
                  <a:gd name="T27" fmla="*/ 124 h 171"/>
                  <a:gd name="T28" fmla="*/ 251 w 294"/>
                  <a:gd name="T29" fmla="*/ 146 h 171"/>
                  <a:gd name="T30" fmla="*/ 172 w 294"/>
                  <a:gd name="T31" fmla="*/ 170 h 171"/>
                  <a:gd name="T32" fmla="*/ 148 w 294"/>
                  <a:gd name="T33" fmla="*/ 171 h 171"/>
                  <a:gd name="T34" fmla="*/ 294 w 294"/>
                  <a:gd name="T35" fmla="*/ 0 h 171"/>
                  <a:gd name="T36" fmla="*/ 294 w 294"/>
                  <a:gd name="T37" fmla="*/ 0 h 171"/>
                  <a:gd name="T38" fmla="*/ 294 w 294"/>
                  <a:gd name="T39" fmla="*/ 0 h 171"/>
                  <a:gd name="T40" fmla="*/ 294 w 294"/>
                  <a:gd name="T41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4" h="171">
                    <a:moveTo>
                      <a:pt x="148" y="171"/>
                    </a:moveTo>
                    <a:cubicBezTo>
                      <a:pt x="139" y="171"/>
                      <a:pt x="130" y="170"/>
                      <a:pt x="122" y="169"/>
                    </a:cubicBezTo>
                    <a:cubicBezTo>
                      <a:pt x="93" y="166"/>
                      <a:pt x="66" y="159"/>
                      <a:pt x="43" y="146"/>
                    </a:cubicBezTo>
                    <a:cubicBezTo>
                      <a:pt x="32" y="139"/>
                      <a:pt x="23" y="132"/>
                      <a:pt x="16" y="124"/>
                    </a:cubicBezTo>
                    <a:cubicBezTo>
                      <a:pt x="5" y="112"/>
                      <a:pt x="0" y="99"/>
                      <a:pt x="0" y="85"/>
                    </a:cubicBezTo>
                    <a:lnTo>
                      <a:pt x="0" y="71"/>
                    </a:lnTo>
                    <a:lnTo>
                      <a:pt x="0" y="0"/>
                    </a:lnTo>
                    <a:cubicBezTo>
                      <a:pt x="0" y="22"/>
                      <a:pt x="15" y="44"/>
                      <a:pt x="43" y="61"/>
                    </a:cubicBezTo>
                    <a:cubicBezTo>
                      <a:pt x="72" y="77"/>
                      <a:pt x="110" y="85"/>
                      <a:pt x="148" y="85"/>
                    </a:cubicBezTo>
                    <a:cubicBezTo>
                      <a:pt x="185" y="85"/>
                      <a:pt x="223" y="77"/>
                      <a:pt x="251" y="61"/>
                    </a:cubicBezTo>
                    <a:cubicBezTo>
                      <a:pt x="280" y="44"/>
                      <a:pt x="294" y="22"/>
                      <a:pt x="294" y="1"/>
                    </a:cubicBezTo>
                    <a:lnTo>
                      <a:pt x="294" y="71"/>
                    </a:lnTo>
                    <a:lnTo>
                      <a:pt x="294" y="85"/>
                    </a:lnTo>
                    <a:cubicBezTo>
                      <a:pt x="294" y="99"/>
                      <a:pt x="289" y="112"/>
                      <a:pt x="279" y="124"/>
                    </a:cubicBezTo>
                    <a:cubicBezTo>
                      <a:pt x="272" y="132"/>
                      <a:pt x="263" y="139"/>
                      <a:pt x="251" y="146"/>
                    </a:cubicBezTo>
                    <a:cubicBezTo>
                      <a:pt x="229" y="159"/>
                      <a:pt x="201" y="167"/>
                      <a:pt x="172" y="170"/>
                    </a:cubicBezTo>
                    <a:cubicBezTo>
                      <a:pt x="164" y="170"/>
                      <a:pt x="156" y="171"/>
                      <a:pt x="148" y="171"/>
                    </a:cubicBezTo>
                    <a:moveTo>
                      <a:pt x="294" y="0"/>
                    </a:moveTo>
                    <a:lnTo>
                      <a:pt x="294" y="0"/>
                    </a:lnTo>
                    <a:lnTo>
                      <a:pt x="294" y="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1" name="Freeform 186"/>
              <p:cNvSpPr>
                <a:spLocks/>
              </p:cNvSpPr>
              <p:nvPr/>
            </p:nvSpPr>
            <p:spPr bwMode="auto">
              <a:xfrm>
                <a:off x="2761" y="2190"/>
                <a:ext cx="141" cy="80"/>
              </a:xfrm>
              <a:custGeom>
                <a:avLst/>
                <a:gdLst>
                  <a:gd name="T0" fmla="*/ 148 w 294"/>
                  <a:gd name="T1" fmla="*/ 167 h 167"/>
                  <a:gd name="T2" fmla="*/ 43 w 294"/>
                  <a:gd name="T3" fmla="*/ 143 h 167"/>
                  <a:gd name="T4" fmla="*/ 0 w 294"/>
                  <a:gd name="T5" fmla="*/ 82 h 167"/>
                  <a:gd name="T6" fmla="*/ 43 w 294"/>
                  <a:gd name="T7" fmla="*/ 22 h 167"/>
                  <a:gd name="T8" fmla="*/ 105 w 294"/>
                  <a:gd name="T9" fmla="*/ 0 h 167"/>
                  <a:gd name="T10" fmla="*/ 105 w 294"/>
                  <a:gd name="T11" fmla="*/ 73 h 167"/>
                  <a:gd name="T12" fmla="*/ 118 w 294"/>
                  <a:gd name="T13" fmla="*/ 90 h 167"/>
                  <a:gd name="T14" fmla="*/ 147 w 294"/>
                  <a:gd name="T15" fmla="*/ 97 h 167"/>
                  <a:gd name="T16" fmla="*/ 177 w 294"/>
                  <a:gd name="T17" fmla="*/ 90 h 167"/>
                  <a:gd name="T18" fmla="*/ 189 w 294"/>
                  <a:gd name="T19" fmla="*/ 73 h 167"/>
                  <a:gd name="T20" fmla="*/ 189 w 294"/>
                  <a:gd name="T21" fmla="*/ 1 h 167"/>
                  <a:gd name="T22" fmla="*/ 251 w 294"/>
                  <a:gd name="T23" fmla="*/ 22 h 167"/>
                  <a:gd name="T24" fmla="*/ 294 w 294"/>
                  <a:gd name="T25" fmla="*/ 82 h 167"/>
                  <a:gd name="T26" fmla="*/ 294 w 294"/>
                  <a:gd name="T27" fmla="*/ 82 h 167"/>
                  <a:gd name="T28" fmla="*/ 294 w 294"/>
                  <a:gd name="T29" fmla="*/ 83 h 167"/>
                  <a:gd name="T30" fmla="*/ 251 w 294"/>
                  <a:gd name="T31" fmla="*/ 143 h 167"/>
                  <a:gd name="T32" fmla="*/ 148 w 294"/>
                  <a:gd name="T33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4" h="167">
                    <a:moveTo>
                      <a:pt x="148" y="167"/>
                    </a:moveTo>
                    <a:cubicBezTo>
                      <a:pt x="110" y="167"/>
                      <a:pt x="72" y="159"/>
                      <a:pt x="43" y="143"/>
                    </a:cubicBezTo>
                    <a:cubicBezTo>
                      <a:pt x="15" y="126"/>
                      <a:pt x="0" y="104"/>
                      <a:pt x="0" y="82"/>
                    </a:cubicBezTo>
                    <a:cubicBezTo>
                      <a:pt x="0" y="60"/>
                      <a:pt x="14" y="39"/>
                      <a:pt x="43" y="22"/>
                    </a:cubicBezTo>
                    <a:cubicBezTo>
                      <a:pt x="61" y="12"/>
                      <a:pt x="82" y="4"/>
                      <a:pt x="105" y="0"/>
                    </a:cubicBezTo>
                    <a:lnTo>
                      <a:pt x="105" y="73"/>
                    </a:lnTo>
                    <a:cubicBezTo>
                      <a:pt x="105" y="79"/>
                      <a:pt x="110" y="86"/>
                      <a:pt x="118" y="90"/>
                    </a:cubicBezTo>
                    <a:cubicBezTo>
                      <a:pt x="126" y="95"/>
                      <a:pt x="137" y="97"/>
                      <a:pt x="147" y="97"/>
                    </a:cubicBezTo>
                    <a:cubicBezTo>
                      <a:pt x="158" y="97"/>
                      <a:pt x="168" y="95"/>
                      <a:pt x="177" y="90"/>
                    </a:cubicBezTo>
                    <a:cubicBezTo>
                      <a:pt x="185" y="86"/>
                      <a:pt x="189" y="79"/>
                      <a:pt x="189" y="73"/>
                    </a:cubicBezTo>
                    <a:lnTo>
                      <a:pt x="189" y="1"/>
                    </a:lnTo>
                    <a:cubicBezTo>
                      <a:pt x="211" y="5"/>
                      <a:pt x="233" y="12"/>
                      <a:pt x="251" y="22"/>
                    </a:cubicBezTo>
                    <a:cubicBezTo>
                      <a:pt x="280" y="39"/>
                      <a:pt x="294" y="60"/>
                      <a:pt x="294" y="82"/>
                    </a:cubicBezTo>
                    <a:lnTo>
                      <a:pt x="294" y="82"/>
                    </a:lnTo>
                    <a:lnTo>
                      <a:pt x="294" y="83"/>
                    </a:lnTo>
                    <a:cubicBezTo>
                      <a:pt x="294" y="104"/>
                      <a:pt x="280" y="126"/>
                      <a:pt x="251" y="143"/>
                    </a:cubicBezTo>
                    <a:cubicBezTo>
                      <a:pt x="223" y="159"/>
                      <a:pt x="185" y="167"/>
                      <a:pt x="148" y="167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2" name="Freeform 187"/>
              <p:cNvSpPr>
                <a:spLocks/>
              </p:cNvSpPr>
              <p:nvPr/>
            </p:nvSpPr>
            <p:spPr bwMode="auto">
              <a:xfrm>
                <a:off x="2812" y="1975"/>
                <a:ext cx="40" cy="261"/>
              </a:xfrm>
              <a:custGeom>
                <a:avLst/>
                <a:gdLst>
                  <a:gd name="T0" fmla="*/ 42 w 84"/>
                  <a:gd name="T1" fmla="*/ 544 h 544"/>
                  <a:gd name="T2" fmla="*/ 13 w 84"/>
                  <a:gd name="T3" fmla="*/ 537 h 544"/>
                  <a:gd name="T4" fmla="*/ 0 w 84"/>
                  <a:gd name="T5" fmla="*/ 520 h 544"/>
                  <a:gd name="T6" fmla="*/ 0 w 84"/>
                  <a:gd name="T7" fmla="*/ 447 h 544"/>
                  <a:gd name="T8" fmla="*/ 0 w 84"/>
                  <a:gd name="T9" fmla="*/ 226 h 544"/>
                  <a:gd name="T10" fmla="*/ 0 w 84"/>
                  <a:gd name="T11" fmla="*/ 48 h 544"/>
                  <a:gd name="T12" fmla="*/ 84 w 84"/>
                  <a:gd name="T13" fmla="*/ 0 h 544"/>
                  <a:gd name="T14" fmla="*/ 84 w 84"/>
                  <a:gd name="T15" fmla="*/ 194 h 544"/>
                  <a:gd name="T16" fmla="*/ 84 w 84"/>
                  <a:gd name="T17" fmla="*/ 448 h 544"/>
                  <a:gd name="T18" fmla="*/ 84 w 84"/>
                  <a:gd name="T19" fmla="*/ 520 h 544"/>
                  <a:gd name="T20" fmla="*/ 72 w 84"/>
                  <a:gd name="T21" fmla="*/ 537 h 544"/>
                  <a:gd name="T22" fmla="*/ 42 w 84"/>
                  <a:gd name="T23" fmla="*/ 54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544">
                    <a:moveTo>
                      <a:pt x="42" y="544"/>
                    </a:moveTo>
                    <a:cubicBezTo>
                      <a:pt x="32" y="544"/>
                      <a:pt x="21" y="542"/>
                      <a:pt x="13" y="537"/>
                    </a:cubicBezTo>
                    <a:cubicBezTo>
                      <a:pt x="5" y="533"/>
                      <a:pt x="0" y="526"/>
                      <a:pt x="0" y="520"/>
                    </a:cubicBezTo>
                    <a:lnTo>
                      <a:pt x="0" y="447"/>
                    </a:lnTo>
                    <a:lnTo>
                      <a:pt x="0" y="226"/>
                    </a:lnTo>
                    <a:lnTo>
                      <a:pt x="0" y="48"/>
                    </a:lnTo>
                    <a:lnTo>
                      <a:pt x="84" y="0"/>
                    </a:lnTo>
                    <a:lnTo>
                      <a:pt x="84" y="194"/>
                    </a:lnTo>
                    <a:lnTo>
                      <a:pt x="84" y="448"/>
                    </a:lnTo>
                    <a:lnTo>
                      <a:pt x="84" y="520"/>
                    </a:lnTo>
                    <a:cubicBezTo>
                      <a:pt x="84" y="526"/>
                      <a:pt x="80" y="533"/>
                      <a:pt x="72" y="537"/>
                    </a:cubicBezTo>
                    <a:cubicBezTo>
                      <a:pt x="63" y="542"/>
                      <a:pt x="53" y="544"/>
                      <a:pt x="42" y="544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3" name="Freeform 188"/>
              <p:cNvSpPr>
                <a:spLocks/>
              </p:cNvSpPr>
              <p:nvPr/>
            </p:nvSpPr>
            <p:spPr bwMode="auto">
              <a:xfrm>
                <a:off x="2226" y="1758"/>
                <a:ext cx="949" cy="539"/>
              </a:xfrm>
              <a:custGeom>
                <a:avLst/>
                <a:gdLst>
                  <a:gd name="T0" fmla="*/ 68 w 949"/>
                  <a:gd name="T1" fmla="*/ 539 h 539"/>
                  <a:gd name="T2" fmla="*/ 0 w 949"/>
                  <a:gd name="T3" fmla="*/ 523 h 539"/>
                  <a:gd name="T4" fmla="*/ 906 w 949"/>
                  <a:gd name="T5" fmla="*/ 0 h 539"/>
                  <a:gd name="T6" fmla="*/ 949 w 949"/>
                  <a:gd name="T7" fmla="*/ 31 h 539"/>
                  <a:gd name="T8" fmla="*/ 626 w 949"/>
                  <a:gd name="T9" fmla="*/ 217 h 539"/>
                  <a:gd name="T10" fmla="*/ 586 w 949"/>
                  <a:gd name="T11" fmla="*/ 240 h 539"/>
                  <a:gd name="T12" fmla="*/ 68 w 949"/>
                  <a:gd name="T13" fmla="*/ 539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9" h="539">
                    <a:moveTo>
                      <a:pt x="68" y="539"/>
                    </a:moveTo>
                    <a:lnTo>
                      <a:pt x="0" y="523"/>
                    </a:lnTo>
                    <a:lnTo>
                      <a:pt x="906" y="0"/>
                    </a:lnTo>
                    <a:lnTo>
                      <a:pt x="949" y="31"/>
                    </a:lnTo>
                    <a:lnTo>
                      <a:pt x="626" y="217"/>
                    </a:lnTo>
                    <a:lnTo>
                      <a:pt x="586" y="240"/>
                    </a:lnTo>
                    <a:lnTo>
                      <a:pt x="68" y="539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4" name="Freeform 189"/>
              <p:cNvSpPr>
                <a:spLocks noEditPoints="1"/>
              </p:cNvSpPr>
              <p:nvPr/>
            </p:nvSpPr>
            <p:spPr bwMode="auto">
              <a:xfrm>
                <a:off x="2226" y="1134"/>
                <a:ext cx="906" cy="1147"/>
              </a:xfrm>
              <a:custGeom>
                <a:avLst/>
                <a:gdLst>
                  <a:gd name="T0" fmla="*/ 0 w 1886"/>
                  <a:gd name="T1" fmla="*/ 30 h 2389"/>
                  <a:gd name="T2" fmla="*/ 30 w 1886"/>
                  <a:gd name="T3" fmla="*/ 26 h 2389"/>
                  <a:gd name="T4" fmla="*/ 74 w 1886"/>
                  <a:gd name="T5" fmla="*/ 0 h 2389"/>
                  <a:gd name="T6" fmla="*/ 209 w 1886"/>
                  <a:gd name="T7" fmla="*/ 610 h 2389"/>
                  <a:gd name="T8" fmla="*/ 168 w 1886"/>
                  <a:gd name="T9" fmla="*/ 809 h 2389"/>
                  <a:gd name="T10" fmla="*/ 339 w 1886"/>
                  <a:gd name="T11" fmla="*/ 1029 h 2389"/>
                  <a:gd name="T12" fmla="*/ 477 w 1886"/>
                  <a:gd name="T13" fmla="*/ 987 h 2389"/>
                  <a:gd name="T14" fmla="*/ 1248 w 1886"/>
                  <a:gd name="T15" fmla="*/ 842 h 2389"/>
                  <a:gd name="T16" fmla="*/ 1050 w 1886"/>
                  <a:gd name="T17" fmla="*/ 1014 h 2389"/>
                  <a:gd name="T18" fmla="*/ 1337 w 1886"/>
                  <a:gd name="T19" fmla="*/ 906 h 2389"/>
                  <a:gd name="T20" fmla="*/ 1316 w 1886"/>
                  <a:gd name="T21" fmla="*/ 977 h 2389"/>
                  <a:gd name="T22" fmla="*/ 1427 w 1886"/>
                  <a:gd name="T23" fmla="*/ 971 h 2389"/>
                  <a:gd name="T24" fmla="*/ 1239 w 1886"/>
                  <a:gd name="T25" fmla="*/ 1138 h 2389"/>
                  <a:gd name="T26" fmla="*/ 1886 w 1886"/>
                  <a:gd name="T27" fmla="*/ 1300 h 2389"/>
                  <a:gd name="T28" fmla="*/ 331 w 1886"/>
                  <a:gd name="T29" fmla="*/ 1604 h 2389"/>
                  <a:gd name="T30" fmla="*/ 171 w 1886"/>
                  <a:gd name="T31" fmla="*/ 1754 h 2389"/>
                  <a:gd name="T32" fmla="*/ 331 w 1886"/>
                  <a:gd name="T33" fmla="*/ 1604 h 2389"/>
                  <a:gd name="T34" fmla="*/ 170 w 1886"/>
                  <a:gd name="T35" fmla="*/ 1580 h 2389"/>
                  <a:gd name="T36" fmla="*/ 687 w 1886"/>
                  <a:gd name="T37" fmla="*/ 1340 h 2389"/>
                  <a:gd name="T38" fmla="*/ 810 w 1886"/>
                  <a:gd name="T39" fmla="*/ 1327 h 2389"/>
                  <a:gd name="T40" fmla="*/ 412 w 1886"/>
                  <a:gd name="T41" fmla="*/ 1615 h 2389"/>
                  <a:gd name="T42" fmla="*/ 810 w 1886"/>
                  <a:gd name="T43" fmla="*/ 1327 h 2389"/>
                  <a:gd name="T44" fmla="*/ 170 w 1886"/>
                  <a:gd name="T45" fmla="*/ 1464 h 2389"/>
                  <a:gd name="T46" fmla="*/ 404 w 1886"/>
                  <a:gd name="T47" fmla="*/ 1387 h 2389"/>
                  <a:gd name="T48" fmla="*/ 602 w 1886"/>
                  <a:gd name="T49" fmla="*/ 1098 h 2389"/>
                  <a:gd name="T50" fmla="*/ 170 w 1886"/>
                  <a:gd name="T51" fmla="*/ 1406 h 2389"/>
                  <a:gd name="T52" fmla="*/ 602 w 1886"/>
                  <a:gd name="T53" fmla="*/ 1098 h 2389"/>
                  <a:gd name="T54" fmla="*/ 485 w 1886"/>
                  <a:gd name="T55" fmla="*/ 1282 h 2389"/>
                  <a:gd name="T56" fmla="*/ 969 w 1886"/>
                  <a:gd name="T57" fmla="*/ 1061 h 2389"/>
                  <a:gd name="T58" fmla="*/ 1157 w 1886"/>
                  <a:gd name="T59" fmla="*/ 1127 h 2389"/>
                  <a:gd name="T60" fmla="*/ 892 w 1886"/>
                  <a:gd name="T61" fmla="*/ 1338 h 2389"/>
                  <a:gd name="T62" fmla="*/ 1157 w 1886"/>
                  <a:gd name="T63" fmla="*/ 1127 h 2389"/>
                  <a:gd name="T64" fmla="*/ 768 w 1886"/>
                  <a:gd name="T65" fmla="*/ 1235 h 2389"/>
                  <a:gd name="T66" fmla="*/ 1234 w 1886"/>
                  <a:gd name="T67" fmla="*/ 1024 h 2389"/>
                  <a:gd name="T68" fmla="*/ 1017 w 1886"/>
                  <a:gd name="T69" fmla="*/ 859 h 2389"/>
                  <a:gd name="T70" fmla="*/ 684 w 1886"/>
                  <a:gd name="T71" fmla="*/ 1109 h 2389"/>
                  <a:gd name="T72" fmla="*/ 1017 w 1886"/>
                  <a:gd name="T73" fmla="*/ 859 h 2389"/>
                  <a:gd name="T74" fmla="*/ 476 w 1886"/>
                  <a:gd name="T75" fmla="*/ 633 h 2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86" h="2389">
                    <a:moveTo>
                      <a:pt x="0" y="2389"/>
                    </a:moveTo>
                    <a:lnTo>
                      <a:pt x="0" y="30"/>
                    </a:lnTo>
                    <a:cubicBezTo>
                      <a:pt x="3" y="31"/>
                      <a:pt x="7" y="31"/>
                      <a:pt x="10" y="31"/>
                    </a:cubicBezTo>
                    <a:cubicBezTo>
                      <a:pt x="17" y="31"/>
                      <a:pt x="24" y="29"/>
                      <a:pt x="30" y="26"/>
                    </a:cubicBezTo>
                    <a:cubicBezTo>
                      <a:pt x="30" y="26"/>
                      <a:pt x="30" y="26"/>
                      <a:pt x="30" y="26"/>
                    </a:cubicBezTo>
                    <a:lnTo>
                      <a:pt x="74" y="0"/>
                    </a:lnTo>
                    <a:lnTo>
                      <a:pt x="469" y="283"/>
                    </a:lnTo>
                    <a:cubicBezTo>
                      <a:pt x="357" y="350"/>
                      <a:pt x="261" y="476"/>
                      <a:pt x="209" y="610"/>
                    </a:cubicBezTo>
                    <a:lnTo>
                      <a:pt x="209" y="610"/>
                    </a:lnTo>
                    <a:cubicBezTo>
                      <a:pt x="183" y="677"/>
                      <a:pt x="168" y="745"/>
                      <a:pt x="168" y="809"/>
                    </a:cubicBezTo>
                    <a:cubicBezTo>
                      <a:pt x="168" y="810"/>
                      <a:pt x="168" y="810"/>
                      <a:pt x="168" y="811"/>
                    </a:cubicBezTo>
                    <a:cubicBezTo>
                      <a:pt x="169" y="949"/>
                      <a:pt x="238" y="1029"/>
                      <a:pt x="339" y="1029"/>
                    </a:cubicBezTo>
                    <a:cubicBezTo>
                      <a:pt x="380" y="1029"/>
                      <a:pt x="427" y="1015"/>
                      <a:pt x="477" y="987"/>
                    </a:cubicBezTo>
                    <a:lnTo>
                      <a:pt x="477" y="987"/>
                    </a:lnTo>
                    <a:cubicBezTo>
                      <a:pt x="632" y="897"/>
                      <a:pt x="760" y="691"/>
                      <a:pt x="781" y="507"/>
                    </a:cubicBezTo>
                    <a:lnTo>
                      <a:pt x="1248" y="842"/>
                    </a:lnTo>
                    <a:lnTo>
                      <a:pt x="1050" y="956"/>
                    </a:lnTo>
                    <a:lnTo>
                      <a:pt x="1050" y="1014"/>
                    </a:lnTo>
                    <a:lnTo>
                      <a:pt x="1292" y="874"/>
                    </a:lnTo>
                    <a:lnTo>
                      <a:pt x="1337" y="906"/>
                    </a:lnTo>
                    <a:lnTo>
                      <a:pt x="1316" y="919"/>
                    </a:lnTo>
                    <a:lnTo>
                      <a:pt x="1316" y="977"/>
                    </a:lnTo>
                    <a:lnTo>
                      <a:pt x="1382" y="938"/>
                    </a:lnTo>
                    <a:lnTo>
                      <a:pt x="1427" y="971"/>
                    </a:lnTo>
                    <a:lnTo>
                      <a:pt x="1239" y="1079"/>
                    </a:lnTo>
                    <a:lnTo>
                      <a:pt x="1239" y="1138"/>
                    </a:lnTo>
                    <a:lnTo>
                      <a:pt x="1472" y="1003"/>
                    </a:lnTo>
                    <a:lnTo>
                      <a:pt x="1886" y="1300"/>
                    </a:lnTo>
                    <a:lnTo>
                      <a:pt x="0" y="2389"/>
                    </a:lnTo>
                    <a:moveTo>
                      <a:pt x="331" y="1604"/>
                    </a:moveTo>
                    <a:lnTo>
                      <a:pt x="171" y="1696"/>
                    </a:lnTo>
                    <a:lnTo>
                      <a:pt x="171" y="1754"/>
                    </a:lnTo>
                    <a:lnTo>
                      <a:pt x="331" y="1662"/>
                    </a:lnTo>
                    <a:lnTo>
                      <a:pt x="331" y="1604"/>
                    </a:lnTo>
                    <a:moveTo>
                      <a:pt x="687" y="1282"/>
                    </a:moveTo>
                    <a:lnTo>
                      <a:pt x="170" y="1580"/>
                    </a:lnTo>
                    <a:lnTo>
                      <a:pt x="171" y="1638"/>
                    </a:lnTo>
                    <a:lnTo>
                      <a:pt x="687" y="1340"/>
                    </a:lnTo>
                    <a:lnTo>
                      <a:pt x="687" y="1282"/>
                    </a:lnTo>
                    <a:close/>
                    <a:moveTo>
                      <a:pt x="810" y="1327"/>
                    </a:moveTo>
                    <a:lnTo>
                      <a:pt x="412" y="1557"/>
                    </a:lnTo>
                    <a:lnTo>
                      <a:pt x="412" y="1615"/>
                    </a:lnTo>
                    <a:lnTo>
                      <a:pt x="811" y="1385"/>
                    </a:lnTo>
                    <a:lnTo>
                      <a:pt x="810" y="1327"/>
                    </a:lnTo>
                    <a:moveTo>
                      <a:pt x="404" y="1329"/>
                    </a:moveTo>
                    <a:lnTo>
                      <a:pt x="170" y="1464"/>
                    </a:lnTo>
                    <a:lnTo>
                      <a:pt x="170" y="1522"/>
                    </a:lnTo>
                    <a:lnTo>
                      <a:pt x="404" y="1387"/>
                    </a:lnTo>
                    <a:lnTo>
                      <a:pt x="404" y="1329"/>
                    </a:lnTo>
                    <a:close/>
                    <a:moveTo>
                      <a:pt x="602" y="1098"/>
                    </a:moveTo>
                    <a:lnTo>
                      <a:pt x="170" y="1348"/>
                    </a:lnTo>
                    <a:lnTo>
                      <a:pt x="170" y="1406"/>
                    </a:lnTo>
                    <a:lnTo>
                      <a:pt x="602" y="1156"/>
                    </a:lnTo>
                    <a:lnTo>
                      <a:pt x="602" y="1098"/>
                    </a:lnTo>
                    <a:close/>
                    <a:moveTo>
                      <a:pt x="969" y="1003"/>
                    </a:moveTo>
                    <a:lnTo>
                      <a:pt x="485" y="1282"/>
                    </a:lnTo>
                    <a:lnTo>
                      <a:pt x="485" y="1340"/>
                    </a:lnTo>
                    <a:lnTo>
                      <a:pt x="969" y="1061"/>
                    </a:lnTo>
                    <a:lnTo>
                      <a:pt x="969" y="1003"/>
                    </a:lnTo>
                    <a:close/>
                    <a:moveTo>
                      <a:pt x="1157" y="1127"/>
                    </a:moveTo>
                    <a:lnTo>
                      <a:pt x="892" y="1280"/>
                    </a:lnTo>
                    <a:lnTo>
                      <a:pt x="892" y="1338"/>
                    </a:lnTo>
                    <a:lnTo>
                      <a:pt x="1157" y="1185"/>
                    </a:lnTo>
                    <a:lnTo>
                      <a:pt x="1157" y="1127"/>
                    </a:lnTo>
                    <a:moveTo>
                      <a:pt x="1234" y="966"/>
                    </a:moveTo>
                    <a:lnTo>
                      <a:pt x="768" y="1235"/>
                    </a:lnTo>
                    <a:lnTo>
                      <a:pt x="768" y="1293"/>
                    </a:lnTo>
                    <a:lnTo>
                      <a:pt x="1234" y="1024"/>
                    </a:lnTo>
                    <a:lnTo>
                      <a:pt x="1234" y="966"/>
                    </a:lnTo>
                    <a:close/>
                    <a:moveTo>
                      <a:pt x="1017" y="859"/>
                    </a:moveTo>
                    <a:lnTo>
                      <a:pt x="683" y="1051"/>
                    </a:lnTo>
                    <a:lnTo>
                      <a:pt x="684" y="1109"/>
                    </a:lnTo>
                    <a:lnTo>
                      <a:pt x="1017" y="917"/>
                    </a:lnTo>
                    <a:lnTo>
                      <a:pt x="1017" y="859"/>
                    </a:lnTo>
                    <a:close/>
                    <a:moveTo>
                      <a:pt x="477" y="987"/>
                    </a:moveTo>
                    <a:lnTo>
                      <a:pt x="476" y="633"/>
                    </a:lnTo>
                    <a:lnTo>
                      <a:pt x="477" y="987"/>
                    </a:lnTo>
                    <a:close/>
                  </a:path>
                </a:pathLst>
              </a:custGeom>
              <a:solidFill>
                <a:srgbClr val="EFC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5" name="Freeform 190"/>
              <p:cNvSpPr>
                <a:spLocks/>
              </p:cNvSpPr>
              <p:nvPr/>
            </p:nvSpPr>
            <p:spPr bwMode="auto">
              <a:xfrm>
                <a:off x="2226" y="1109"/>
                <a:ext cx="25" cy="40"/>
              </a:xfrm>
              <a:custGeom>
                <a:avLst/>
                <a:gdLst>
                  <a:gd name="T0" fmla="*/ 10 w 52"/>
                  <a:gd name="T1" fmla="*/ 84 h 84"/>
                  <a:gd name="T2" fmla="*/ 0 w 52"/>
                  <a:gd name="T3" fmla="*/ 83 h 84"/>
                  <a:gd name="T4" fmla="*/ 0 w 52"/>
                  <a:gd name="T5" fmla="*/ 0 h 84"/>
                  <a:gd name="T6" fmla="*/ 52 w 52"/>
                  <a:gd name="T7" fmla="*/ 37 h 84"/>
                  <a:gd name="T8" fmla="*/ 51 w 52"/>
                  <a:gd name="T9" fmla="*/ 39 h 84"/>
                  <a:gd name="T10" fmla="*/ 51 w 52"/>
                  <a:gd name="T11" fmla="*/ 39 h 84"/>
                  <a:gd name="T12" fmla="*/ 50 w 52"/>
                  <a:gd name="T13" fmla="*/ 46 h 84"/>
                  <a:gd name="T14" fmla="*/ 50 w 52"/>
                  <a:gd name="T15" fmla="*/ 47 h 84"/>
                  <a:gd name="T16" fmla="*/ 49 w 52"/>
                  <a:gd name="T17" fmla="*/ 54 h 84"/>
                  <a:gd name="T18" fmla="*/ 48 w 52"/>
                  <a:gd name="T19" fmla="*/ 55 h 84"/>
                  <a:gd name="T20" fmla="*/ 46 w 52"/>
                  <a:gd name="T21" fmla="*/ 60 h 84"/>
                  <a:gd name="T22" fmla="*/ 46 w 52"/>
                  <a:gd name="T23" fmla="*/ 61 h 84"/>
                  <a:gd name="T24" fmla="*/ 43 w 52"/>
                  <a:gd name="T25" fmla="*/ 66 h 84"/>
                  <a:gd name="T26" fmla="*/ 42 w 52"/>
                  <a:gd name="T27" fmla="*/ 67 h 84"/>
                  <a:gd name="T28" fmla="*/ 39 w 52"/>
                  <a:gd name="T29" fmla="*/ 71 h 84"/>
                  <a:gd name="T30" fmla="*/ 38 w 52"/>
                  <a:gd name="T31" fmla="*/ 72 h 84"/>
                  <a:gd name="T32" fmla="*/ 35 w 52"/>
                  <a:gd name="T33" fmla="*/ 75 h 84"/>
                  <a:gd name="T34" fmla="*/ 34 w 52"/>
                  <a:gd name="T35" fmla="*/ 76 h 84"/>
                  <a:gd name="T36" fmla="*/ 30 w 52"/>
                  <a:gd name="T37" fmla="*/ 79 h 84"/>
                  <a:gd name="T38" fmla="*/ 10 w 52"/>
                  <a:gd name="T3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" h="84">
                    <a:moveTo>
                      <a:pt x="10" y="84"/>
                    </a:moveTo>
                    <a:cubicBezTo>
                      <a:pt x="7" y="84"/>
                      <a:pt x="3" y="84"/>
                      <a:pt x="0" y="83"/>
                    </a:cubicBezTo>
                    <a:lnTo>
                      <a:pt x="0" y="0"/>
                    </a:lnTo>
                    <a:lnTo>
                      <a:pt x="52" y="37"/>
                    </a:lnTo>
                    <a:cubicBezTo>
                      <a:pt x="52" y="38"/>
                      <a:pt x="51" y="38"/>
                      <a:pt x="51" y="39"/>
                    </a:cubicBezTo>
                    <a:lnTo>
                      <a:pt x="51" y="39"/>
                    </a:lnTo>
                    <a:cubicBezTo>
                      <a:pt x="51" y="42"/>
                      <a:pt x="51" y="44"/>
                      <a:pt x="50" y="46"/>
                    </a:cubicBezTo>
                    <a:lnTo>
                      <a:pt x="50" y="47"/>
                    </a:lnTo>
                    <a:cubicBezTo>
                      <a:pt x="50" y="49"/>
                      <a:pt x="49" y="51"/>
                      <a:pt x="49" y="54"/>
                    </a:cubicBezTo>
                    <a:lnTo>
                      <a:pt x="48" y="55"/>
                    </a:lnTo>
                    <a:cubicBezTo>
                      <a:pt x="48" y="57"/>
                      <a:pt x="47" y="58"/>
                      <a:pt x="46" y="60"/>
                    </a:cubicBezTo>
                    <a:lnTo>
                      <a:pt x="46" y="61"/>
                    </a:lnTo>
                    <a:cubicBezTo>
                      <a:pt x="45" y="63"/>
                      <a:pt x="44" y="64"/>
                      <a:pt x="43" y="66"/>
                    </a:cubicBezTo>
                    <a:lnTo>
                      <a:pt x="42" y="67"/>
                    </a:lnTo>
                    <a:lnTo>
                      <a:pt x="39" y="71"/>
                    </a:lnTo>
                    <a:lnTo>
                      <a:pt x="38" y="72"/>
                    </a:lnTo>
                    <a:lnTo>
                      <a:pt x="35" y="75"/>
                    </a:lnTo>
                    <a:lnTo>
                      <a:pt x="34" y="76"/>
                    </a:lnTo>
                    <a:cubicBezTo>
                      <a:pt x="33" y="77"/>
                      <a:pt x="31" y="78"/>
                      <a:pt x="30" y="79"/>
                    </a:cubicBezTo>
                    <a:cubicBezTo>
                      <a:pt x="24" y="82"/>
                      <a:pt x="17" y="84"/>
                      <a:pt x="10" y="84"/>
                    </a:cubicBezTo>
                  </a:path>
                </a:pathLst>
              </a:custGeom>
              <a:solidFill>
                <a:srgbClr val="3934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6" name="Freeform 191"/>
              <p:cNvSpPr>
                <a:spLocks/>
              </p:cNvSpPr>
              <p:nvPr/>
            </p:nvSpPr>
            <p:spPr bwMode="auto">
              <a:xfrm>
                <a:off x="2241" y="1126"/>
                <a:ext cx="21" cy="21"/>
              </a:xfrm>
              <a:custGeom>
                <a:avLst/>
                <a:gdLst>
                  <a:gd name="T0" fmla="*/ 0 w 44"/>
                  <a:gd name="T1" fmla="*/ 42 h 42"/>
                  <a:gd name="T2" fmla="*/ 0 w 44"/>
                  <a:gd name="T3" fmla="*/ 42 h 42"/>
                  <a:gd name="T4" fmla="*/ 4 w 44"/>
                  <a:gd name="T5" fmla="*/ 39 h 42"/>
                  <a:gd name="T6" fmla="*/ 5 w 44"/>
                  <a:gd name="T7" fmla="*/ 38 h 42"/>
                  <a:gd name="T8" fmla="*/ 8 w 44"/>
                  <a:gd name="T9" fmla="*/ 35 h 42"/>
                  <a:gd name="T10" fmla="*/ 9 w 44"/>
                  <a:gd name="T11" fmla="*/ 34 h 42"/>
                  <a:gd name="T12" fmla="*/ 12 w 44"/>
                  <a:gd name="T13" fmla="*/ 30 h 42"/>
                  <a:gd name="T14" fmla="*/ 13 w 44"/>
                  <a:gd name="T15" fmla="*/ 29 h 42"/>
                  <a:gd name="T16" fmla="*/ 16 w 44"/>
                  <a:gd name="T17" fmla="*/ 24 h 42"/>
                  <a:gd name="T18" fmla="*/ 16 w 44"/>
                  <a:gd name="T19" fmla="*/ 23 h 42"/>
                  <a:gd name="T20" fmla="*/ 18 w 44"/>
                  <a:gd name="T21" fmla="*/ 18 h 42"/>
                  <a:gd name="T22" fmla="*/ 19 w 44"/>
                  <a:gd name="T23" fmla="*/ 17 h 42"/>
                  <a:gd name="T24" fmla="*/ 20 w 44"/>
                  <a:gd name="T25" fmla="*/ 10 h 42"/>
                  <a:gd name="T26" fmla="*/ 20 w 44"/>
                  <a:gd name="T27" fmla="*/ 9 h 42"/>
                  <a:gd name="T28" fmla="*/ 21 w 44"/>
                  <a:gd name="T29" fmla="*/ 2 h 42"/>
                  <a:gd name="T30" fmla="*/ 21 w 44"/>
                  <a:gd name="T31" fmla="*/ 2 h 42"/>
                  <a:gd name="T32" fmla="*/ 22 w 44"/>
                  <a:gd name="T33" fmla="*/ 0 h 42"/>
                  <a:gd name="T34" fmla="*/ 44 w 44"/>
                  <a:gd name="T35" fmla="*/ 16 h 42"/>
                  <a:gd name="T36" fmla="*/ 0 w 44"/>
                  <a:gd name="T3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2">
                    <a:moveTo>
                      <a:pt x="0" y="42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1" y="41"/>
                      <a:pt x="3" y="40"/>
                      <a:pt x="4" y="39"/>
                    </a:cubicBezTo>
                    <a:lnTo>
                      <a:pt x="5" y="38"/>
                    </a:lnTo>
                    <a:lnTo>
                      <a:pt x="8" y="35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3" y="29"/>
                    </a:lnTo>
                    <a:cubicBezTo>
                      <a:pt x="14" y="27"/>
                      <a:pt x="15" y="26"/>
                      <a:pt x="16" y="24"/>
                    </a:cubicBezTo>
                    <a:lnTo>
                      <a:pt x="16" y="23"/>
                    </a:lnTo>
                    <a:cubicBezTo>
                      <a:pt x="17" y="21"/>
                      <a:pt x="18" y="20"/>
                      <a:pt x="18" y="18"/>
                    </a:cubicBezTo>
                    <a:lnTo>
                      <a:pt x="19" y="17"/>
                    </a:lnTo>
                    <a:cubicBezTo>
                      <a:pt x="19" y="14"/>
                      <a:pt x="20" y="12"/>
                      <a:pt x="20" y="10"/>
                    </a:cubicBezTo>
                    <a:lnTo>
                      <a:pt x="20" y="9"/>
                    </a:lnTo>
                    <a:cubicBezTo>
                      <a:pt x="21" y="7"/>
                      <a:pt x="21" y="5"/>
                      <a:pt x="21" y="2"/>
                    </a:cubicBezTo>
                    <a:lnTo>
                      <a:pt x="21" y="2"/>
                    </a:lnTo>
                    <a:cubicBezTo>
                      <a:pt x="21" y="1"/>
                      <a:pt x="22" y="1"/>
                      <a:pt x="22" y="0"/>
                    </a:cubicBezTo>
                    <a:lnTo>
                      <a:pt x="44" y="16"/>
                    </a:lnTo>
                    <a:lnTo>
                      <a:pt x="0" y="42"/>
                    </a:lnTo>
                  </a:path>
                </a:pathLst>
              </a:custGeom>
              <a:solidFill>
                <a:srgbClr val="474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7" name="Freeform 192"/>
              <p:cNvSpPr>
                <a:spLocks/>
              </p:cNvSpPr>
              <p:nvPr/>
            </p:nvSpPr>
            <p:spPr bwMode="auto">
              <a:xfrm>
                <a:off x="2327" y="1270"/>
                <a:ext cx="178" cy="168"/>
              </a:xfrm>
              <a:custGeom>
                <a:avLst/>
                <a:gdLst>
                  <a:gd name="T0" fmla="*/ 267 w 371"/>
                  <a:gd name="T1" fmla="*/ 350 h 350"/>
                  <a:gd name="T2" fmla="*/ 0 w 371"/>
                  <a:gd name="T3" fmla="*/ 327 h 350"/>
                  <a:gd name="T4" fmla="*/ 260 w 371"/>
                  <a:gd name="T5" fmla="*/ 0 h 350"/>
                  <a:gd name="T6" fmla="*/ 371 w 371"/>
                  <a:gd name="T7" fmla="*/ 80 h 350"/>
                  <a:gd name="T8" fmla="*/ 267 w 371"/>
                  <a:gd name="T9" fmla="*/ 350 h 350"/>
                  <a:gd name="T10" fmla="*/ 267 w 371"/>
                  <a:gd name="T11" fmla="*/ 350 h 350"/>
                  <a:gd name="T12" fmla="*/ 267 w 371"/>
                  <a:gd name="T13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1" h="350">
                    <a:moveTo>
                      <a:pt x="267" y="350"/>
                    </a:moveTo>
                    <a:lnTo>
                      <a:pt x="0" y="327"/>
                    </a:lnTo>
                    <a:cubicBezTo>
                      <a:pt x="52" y="193"/>
                      <a:pt x="148" y="67"/>
                      <a:pt x="260" y="0"/>
                    </a:cubicBezTo>
                    <a:lnTo>
                      <a:pt x="371" y="80"/>
                    </a:lnTo>
                    <a:lnTo>
                      <a:pt x="267" y="350"/>
                    </a:lnTo>
                    <a:lnTo>
                      <a:pt x="267" y="350"/>
                    </a:lnTo>
                    <a:lnTo>
                      <a:pt x="267" y="35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8" name="Freeform 193"/>
              <p:cNvSpPr>
                <a:spLocks/>
              </p:cNvSpPr>
              <p:nvPr/>
            </p:nvSpPr>
            <p:spPr bwMode="auto">
              <a:xfrm>
                <a:off x="2307" y="1427"/>
                <a:ext cx="148" cy="201"/>
              </a:xfrm>
              <a:custGeom>
                <a:avLst/>
                <a:gdLst>
                  <a:gd name="T0" fmla="*/ 171 w 309"/>
                  <a:gd name="T1" fmla="*/ 419 h 419"/>
                  <a:gd name="T2" fmla="*/ 0 w 309"/>
                  <a:gd name="T3" fmla="*/ 201 h 419"/>
                  <a:gd name="T4" fmla="*/ 0 w 309"/>
                  <a:gd name="T5" fmla="*/ 199 h 419"/>
                  <a:gd name="T6" fmla="*/ 41 w 309"/>
                  <a:gd name="T7" fmla="*/ 0 h 419"/>
                  <a:gd name="T8" fmla="*/ 308 w 309"/>
                  <a:gd name="T9" fmla="*/ 23 h 419"/>
                  <a:gd name="T10" fmla="*/ 309 w 309"/>
                  <a:gd name="T11" fmla="*/ 377 h 419"/>
                  <a:gd name="T12" fmla="*/ 171 w 309"/>
                  <a:gd name="T13" fmla="*/ 419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9" h="419">
                    <a:moveTo>
                      <a:pt x="171" y="419"/>
                    </a:moveTo>
                    <a:cubicBezTo>
                      <a:pt x="70" y="419"/>
                      <a:pt x="1" y="339"/>
                      <a:pt x="0" y="201"/>
                    </a:cubicBezTo>
                    <a:cubicBezTo>
                      <a:pt x="0" y="200"/>
                      <a:pt x="0" y="200"/>
                      <a:pt x="0" y="199"/>
                    </a:cubicBezTo>
                    <a:cubicBezTo>
                      <a:pt x="0" y="135"/>
                      <a:pt x="15" y="67"/>
                      <a:pt x="41" y="0"/>
                    </a:cubicBezTo>
                    <a:lnTo>
                      <a:pt x="308" y="23"/>
                    </a:lnTo>
                    <a:lnTo>
                      <a:pt x="309" y="377"/>
                    </a:lnTo>
                    <a:cubicBezTo>
                      <a:pt x="259" y="405"/>
                      <a:pt x="212" y="419"/>
                      <a:pt x="171" y="419"/>
                    </a:cubicBezTo>
                  </a:path>
                </a:pathLst>
              </a:custGeom>
              <a:solidFill>
                <a:srgbClr val="DE9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9" name="Freeform 194"/>
              <p:cNvSpPr>
                <a:spLocks/>
              </p:cNvSpPr>
              <p:nvPr/>
            </p:nvSpPr>
            <p:spPr bwMode="auto">
              <a:xfrm>
                <a:off x="2308" y="1904"/>
                <a:ext cx="77" cy="72"/>
              </a:xfrm>
              <a:custGeom>
                <a:avLst/>
                <a:gdLst>
                  <a:gd name="T0" fmla="*/ 0 w 77"/>
                  <a:gd name="T1" fmla="*/ 72 h 72"/>
                  <a:gd name="T2" fmla="*/ 0 w 77"/>
                  <a:gd name="T3" fmla="*/ 44 h 72"/>
                  <a:gd name="T4" fmla="*/ 77 w 77"/>
                  <a:gd name="T5" fmla="*/ 0 h 72"/>
                  <a:gd name="T6" fmla="*/ 77 w 77"/>
                  <a:gd name="T7" fmla="*/ 28 h 72"/>
                  <a:gd name="T8" fmla="*/ 0 w 77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72">
                    <a:moveTo>
                      <a:pt x="0" y="72"/>
                    </a:moveTo>
                    <a:lnTo>
                      <a:pt x="0" y="44"/>
                    </a:lnTo>
                    <a:lnTo>
                      <a:pt x="77" y="0"/>
                    </a:lnTo>
                    <a:lnTo>
                      <a:pt x="77" y="28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0" name="Freeform 195"/>
              <p:cNvSpPr>
                <a:spLocks/>
              </p:cNvSpPr>
              <p:nvPr/>
            </p:nvSpPr>
            <p:spPr bwMode="auto">
              <a:xfrm>
                <a:off x="2308" y="1772"/>
                <a:ext cx="112" cy="93"/>
              </a:xfrm>
              <a:custGeom>
                <a:avLst/>
                <a:gdLst>
                  <a:gd name="T0" fmla="*/ 0 w 112"/>
                  <a:gd name="T1" fmla="*/ 93 h 93"/>
                  <a:gd name="T2" fmla="*/ 0 w 112"/>
                  <a:gd name="T3" fmla="*/ 65 h 93"/>
                  <a:gd name="T4" fmla="*/ 112 w 112"/>
                  <a:gd name="T5" fmla="*/ 0 h 93"/>
                  <a:gd name="T6" fmla="*/ 112 w 112"/>
                  <a:gd name="T7" fmla="*/ 28 h 93"/>
                  <a:gd name="T8" fmla="*/ 0 w 112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93">
                    <a:moveTo>
                      <a:pt x="0" y="93"/>
                    </a:moveTo>
                    <a:lnTo>
                      <a:pt x="0" y="65"/>
                    </a:lnTo>
                    <a:lnTo>
                      <a:pt x="112" y="0"/>
                    </a:lnTo>
                    <a:lnTo>
                      <a:pt x="112" y="28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1" name="Freeform 196"/>
              <p:cNvSpPr>
                <a:spLocks/>
              </p:cNvSpPr>
              <p:nvPr/>
            </p:nvSpPr>
            <p:spPr bwMode="auto">
              <a:xfrm>
                <a:off x="2308" y="1750"/>
                <a:ext cx="248" cy="171"/>
              </a:xfrm>
              <a:custGeom>
                <a:avLst/>
                <a:gdLst>
                  <a:gd name="T0" fmla="*/ 0 w 248"/>
                  <a:gd name="T1" fmla="*/ 171 h 171"/>
                  <a:gd name="T2" fmla="*/ 0 w 248"/>
                  <a:gd name="T3" fmla="*/ 143 h 171"/>
                  <a:gd name="T4" fmla="*/ 248 w 248"/>
                  <a:gd name="T5" fmla="*/ 0 h 171"/>
                  <a:gd name="T6" fmla="*/ 248 w 248"/>
                  <a:gd name="T7" fmla="*/ 27 h 171"/>
                  <a:gd name="T8" fmla="*/ 0 w 248"/>
                  <a:gd name="T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71">
                    <a:moveTo>
                      <a:pt x="0" y="171"/>
                    </a:moveTo>
                    <a:lnTo>
                      <a:pt x="0" y="143"/>
                    </a:lnTo>
                    <a:lnTo>
                      <a:pt x="248" y="0"/>
                    </a:lnTo>
                    <a:lnTo>
                      <a:pt x="248" y="27"/>
                    </a:lnTo>
                    <a:lnTo>
                      <a:pt x="0" y="17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2" name="Freeform 197"/>
              <p:cNvSpPr>
                <a:spLocks/>
              </p:cNvSpPr>
              <p:nvPr/>
            </p:nvSpPr>
            <p:spPr bwMode="auto">
              <a:xfrm>
                <a:off x="2730" y="1538"/>
                <a:ext cx="117" cy="83"/>
              </a:xfrm>
              <a:custGeom>
                <a:avLst/>
                <a:gdLst>
                  <a:gd name="T0" fmla="*/ 0 w 117"/>
                  <a:gd name="T1" fmla="*/ 83 h 83"/>
                  <a:gd name="T2" fmla="*/ 0 w 117"/>
                  <a:gd name="T3" fmla="*/ 55 h 83"/>
                  <a:gd name="T4" fmla="*/ 95 w 117"/>
                  <a:gd name="T5" fmla="*/ 0 h 83"/>
                  <a:gd name="T6" fmla="*/ 117 w 117"/>
                  <a:gd name="T7" fmla="*/ 16 h 83"/>
                  <a:gd name="T8" fmla="*/ 0 w 117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83">
                    <a:moveTo>
                      <a:pt x="0" y="83"/>
                    </a:moveTo>
                    <a:lnTo>
                      <a:pt x="0" y="55"/>
                    </a:lnTo>
                    <a:lnTo>
                      <a:pt x="95" y="0"/>
                    </a:lnTo>
                    <a:lnTo>
                      <a:pt x="117" y="16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3" name="Freeform 198"/>
              <p:cNvSpPr>
                <a:spLocks/>
              </p:cNvSpPr>
              <p:nvPr/>
            </p:nvSpPr>
            <p:spPr bwMode="auto">
              <a:xfrm>
                <a:off x="2655" y="1675"/>
                <a:ext cx="127" cy="102"/>
              </a:xfrm>
              <a:custGeom>
                <a:avLst/>
                <a:gdLst>
                  <a:gd name="T0" fmla="*/ 0 w 127"/>
                  <a:gd name="T1" fmla="*/ 102 h 102"/>
                  <a:gd name="T2" fmla="*/ 0 w 127"/>
                  <a:gd name="T3" fmla="*/ 74 h 102"/>
                  <a:gd name="T4" fmla="*/ 127 w 127"/>
                  <a:gd name="T5" fmla="*/ 0 h 102"/>
                  <a:gd name="T6" fmla="*/ 127 w 127"/>
                  <a:gd name="T7" fmla="*/ 28 h 102"/>
                  <a:gd name="T8" fmla="*/ 0 w 127"/>
                  <a:gd name="T9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02">
                    <a:moveTo>
                      <a:pt x="0" y="102"/>
                    </a:moveTo>
                    <a:lnTo>
                      <a:pt x="0" y="74"/>
                    </a:lnTo>
                    <a:lnTo>
                      <a:pt x="127" y="0"/>
                    </a:lnTo>
                    <a:lnTo>
                      <a:pt x="127" y="28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4" name="Freeform 199"/>
              <p:cNvSpPr>
                <a:spLocks/>
              </p:cNvSpPr>
              <p:nvPr/>
            </p:nvSpPr>
            <p:spPr bwMode="auto">
              <a:xfrm>
                <a:off x="2595" y="1598"/>
                <a:ext cx="224" cy="157"/>
              </a:xfrm>
              <a:custGeom>
                <a:avLst/>
                <a:gdLst>
                  <a:gd name="T0" fmla="*/ 0 w 224"/>
                  <a:gd name="T1" fmla="*/ 157 h 157"/>
                  <a:gd name="T2" fmla="*/ 0 w 224"/>
                  <a:gd name="T3" fmla="*/ 129 h 157"/>
                  <a:gd name="T4" fmla="*/ 224 w 224"/>
                  <a:gd name="T5" fmla="*/ 0 h 157"/>
                  <a:gd name="T6" fmla="*/ 224 w 224"/>
                  <a:gd name="T7" fmla="*/ 28 h 157"/>
                  <a:gd name="T8" fmla="*/ 0 w 224"/>
                  <a:gd name="T9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57">
                    <a:moveTo>
                      <a:pt x="0" y="157"/>
                    </a:moveTo>
                    <a:lnTo>
                      <a:pt x="0" y="129"/>
                    </a:lnTo>
                    <a:lnTo>
                      <a:pt x="224" y="0"/>
                    </a:lnTo>
                    <a:lnTo>
                      <a:pt x="224" y="28"/>
                    </a:lnTo>
                    <a:lnTo>
                      <a:pt x="0" y="1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5" name="Freeform 200"/>
              <p:cNvSpPr>
                <a:spLocks/>
              </p:cNvSpPr>
              <p:nvPr/>
            </p:nvSpPr>
            <p:spPr bwMode="auto">
              <a:xfrm>
                <a:off x="2554" y="1547"/>
                <a:ext cx="161" cy="120"/>
              </a:xfrm>
              <a:custGeom>
                <a:avLst/>
                <a:gdLst>
                  <a:gd name="T0" fmla="*/ 1 w 161"/>
                  <a:gd name="T1" fmla="*/ 120 h 120"/>
                  <a:gd name="T2" fmla="*/ 0 w 161"/>
                  <a:gd name="T3" fmla="*/ 92 h 120"/>
                  <a:gd name="T4" fmla="*/ 161 w 161"/>
                  <a:gd name="T5" fmla="*/ 0 h 120"/>
                  <a:gd name="T6" fmla="*/ 161 w 161"/>
                  <a:gd name="T7" fmla="*/ 27 h 120"/>
                  <a:gd name="T8" fmla="*/ 1 w 161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120">
                    <a:moveTo>
                      <a:pt x="1" y="120"/>
                    </a:moveTo>
                    <a:lnTo>
                      <a:pt x="0" y="92"/>
                    </a:lnTo>
                    <a:lnTo>
                      <a:pt x="161" y="0"/>
                    </a:lnTo>
                    <a:lnTo>
                      <a:pt x="161" y="27"/>
                    </a:lnTo>
                    <a:lnTo>
                      <a:pt x="1" y="12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6" name="Freeform 201"/>
              <p:cNvSpPr>
                <a:spLocks/>
              </p:cNvSpPr>
              <p:nvPr/>
            </p:nvSpPr>
            <p:spPr bwMode="auto">
              <a:xfrm>
                <a:off x="2459" y="1616"/>
                <a:ext cx="233" cy="161"/>
              </a:xfrm>
              <a:custGeom>
                <a:avLst/>
                <a:gdLst>
                  <a:gd name="T0" fmla="*/ 0 w 233"/>
                  <a:gd name="T1" fmla="*/ 161 h 161"/>
                  <a:gd name="T2" fmla="*/ 0 w 233"/>
                  <a:gd name="T3" fmla="*/ 134 h 161"/>
                  <a:gd name="T4" fmla="*/ 233 w 233"/>
                  <a:gd name="T5" fmla="*/ 0 h 161"/>
                  <a:gd name="T6" fmla="*/ 233 w 233"/>
                  <a:gd name="T7" fmla="*/ 28 h 161"/>
                  <a:gd name="T8" fmla="*/ 0 w 233"/>
                  <a:gd name="T9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3" h="161">
                    <a:moveTo>
                      <a:pt x="0" y="161"/>
                    </a:moveTo>
                    <a:lnTo>
                      <a:pt x="0" y="134"/>
                    </a:lnTo>
                    <a:lnTo>
                      <a:pt x="233" y="0"/>
                    </a:lnTo>
                    <a:lnTo>
                      <a:pt x="233" y="28"/>
                    </a:lnTo>
                    <a:lnTo>
                      <a:pt x="0" y="16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7" name="Freeform 202"/>
              <p:cNvSpPr>
                <a:spLocks/>
              </p:cNvSpPr>
              <p:nvPr/>
            </p:nvSpPr>
            <p:spPr bwMode="auto">
              <a:xfrm>
                <a:off x="2455" y="1308"/>
                <a:ext cx="146" cy="300"/>
              </a:xfrm>
              <a:custGeom>
                <a:avLst/>
                <a:gdLst>
                  <a:gd name="T0" fmla="*/ 1 w 305"/>
                  <a:gd name="T1" fmla="*/ 624 h 624"/>
                  <a:gd name="T2" fmla="*/ 0 w 305"/>
                  <a:gd name="T3" fmla="*/ 270 h 624"/>
                  <a:gd name="T4" fmla="*/ 104 w 305"/>
                  <a:gd name="T5" fmla="*/ 0 h 624"/>
                  <a:gd name="T6" fmla="*/ 305 w 305"/>
                  <a:gd name="T7" fmla="*/ 144 h 624"/>
                  <a:gd name="T8" fmla="*/ 1 w 305"/>
                  <a:gd name="T9" fmla="*/ 624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5" h="624">
                    <a:moveTo>
                      <a:pt x="1" y="624"/>
                    </a:moveTo>
                    <a:lnTo>
                      <a:pt x="0" y="270"/>
                    </a:lnTo>
                    <a:lnTo>
                      <a:pt x="104" y="0"/>
                    </a:lnTo>
                    <a:lnTo>
                      <a:pt x="305" y="144"/>
                    </a:lnTo>
                    <a:cubicBezTo>
                      <a:pt x="284" y="328"/>
                      <a:pt x="156" y="534"/>
                      <a:pt x="1" y="624"/>
                    </a:cubicBezTo>
                    <a:close/>
                  </a:path>
                </a:pathLst>
              </a:custGeom>
              <a:solidFill>
                <a:srgbClr val="B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8" name="Freeform 203"/>
              <p:cNvSpPr>
                <a:spLocks/>
              </p:cNvSpPr>
              <p:nvPr/>
            </p:nvSpPr>
            <p:spPr bwMode="auto">
              <a:xfrm>
                <a:off x="2455" y="1308"/>
                <a:ext cx="50" cy="130"/>
              </a:xfrm>
              <a:custGeom>
                <a:avLst/>
                <a:gdLst>
                  <a:gd name="T0" fmla="*/ 0 w 50"/>
                  <a:gd name="T1" fmla="*/ 130 h 130"/>
                  <a:gd name="T2" fmla="*/ 0 w 50"/>
                  <a:gd name="T3" fmla="*/ 130 h 130"/>
                  <a:gd name="T4" fmla="*/ 50 w 50"/>
                  <a:gd name="T5" fmla="*/ 0 h 130"/>
                  <a:gd name="T6" fmla="*/ 0 w 50"/>
                  <a:gd name="T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130">
                    <a:moveTo>
                      <a:pt x="0" y="130"/>
                    </a:moveTo>
                    <a:lnTo>
                      <a:pt x="0" y="130"/>
                    </a:lnTo>
                    <a:lnTo>
                      <a:pt x="50" y="0"/>
                    </a:lnTo>
                    <a:lnTo>
                      <a:pt x="0" y="130"/>
                    </a:lnTo>
                    <a:close/>
                  </a:path>
                </a:pathLst>
              </a:custGeom>
              <a:solidFill>
                <a:srgbClr val="B360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9" name="Freeform 204"/>
              <p:cNvSpPr>
                <a:spLocks/>
              </p:cNvSpPr>
              <p:nvPr/>
            </p:nvSpPr>
            <p:spPr bwMode="auto">
              <a:xfrm>
                <a:off x="2455" y="1308"/>
                <a:ext cx="50" cy="130"/>
              </a:xfrm>
              <a:custGeom>
                <a:avLst/>
                <a:gdLst>
                  <a:gd name="T0" fmla="*/ 0 w 50"/>
                  <a:gd name="T1" fmla="*/ 130 h 130"/>
                  <a:gd name="T2" fmla="*/ 0 w 50"/>
                  <a:gd name="T3" fmla="*/ 130 h 130"/>
                  <a:gd name="T4" fmla="*/ 50 w 50"/>
                  <a:gd name="T5" fmla="*/ 0 h 130"/>
                  <a:gd name="T6" fmla="*/ 50 w 50"/>
                  <a:gd name="T7" fmla="*/ 0 h 130"/>
                  <a:gd name="T8" fmla="*/ 0 w 50"/>
                  <a:gd name="T9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130">
                    <a:moveTo>
                      <a:pt x="0" y="130"/>
                    </a:moveTo>
                    <a:lnTo>
                      <a:pt x="0" y="13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0" y="130"/>
                    </a:lnTo>
                    <a:close/>
                  </a:path>
                </a:pathLst>
              </a:custGeom>
              <a:solidFill>
                <a:srgbClr val="B360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0" name="Freeform 205"/>
              <p:cNvSpPr>
                <a:spLocks/>
              </p:cNvSpPr>
              <p:nvPr/>
            </p:nvSpPr>
            <p:spPr bwMode="auto">
              <a:xfrm>
                <a:off x="2424" y="1771"/>
                <a:ext cx="192" cy="139"/>
              </a:xfrm>
              <a:custGeom>
                <a:avLst/>
                <a:gdLst>
                  <a:gd name="T0" fmla="*/ 0 w 192"/>
                  <a:gd name="T1" fmla="*/ 139 h 139"/>
                  <a:gd name="T2" fmla="*/ 0 w 192"/>
                  <a:gd name="T3" fmla="*/ 111 h 139"/>
                  <a:gd name="T4" fmla="*/ 191 w 192"/>
                  <a:gd name="T5" fmla="*/ 0 h 139"/>
                  <a:gd name="T6" fmla="*/ 192 w 192"/>
                  <a:gd name="T7" fmla="*/ 28 h 139"/>
                  <a:gd name="T8" fmla="*/ 0 w 192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9">
                    <a:moveTo>
                      <a:pt x="0" y="139"/>
                    </a:moveTo>
                    <a:lnTo>
                      <a:pt x="0" y="111"/>
                    </a:lnTo>
                    <a:lnTo>
                      <a:pt x="191" y="0"/>
                    </a:lnTo>
                    <a:lnTo>
                      <a:pt x="192" y="28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207"/>
            <p:cNvSpPr>
              <a:spLocks/>
            </p:cNvSpPr>
            <p:nvPr/>
          </p:nvSpPr>
          <p:spPr bwMode="auto">
            <a:xfrm>
              <a:off x="2308" y="1661"/>
              <a:ext cx="207" cy="148"/>
            </a:xfrm>
            <a:custGeom>
              <a:avLst/>
              <a:gdLst>
                <a:gd name="T0" fmla="*/ 0 w 207"/>
                <a:gd name="T1" fmla="*/ 148 h 148"/>
                <a:gd name="T2" fmla="*/ 0 w 207"/>
                <a:gd name="T3" fmla="*/ 120 h 148"/>
                <a:gd name="T4" fmla="*/ 207 w 207"/>
                <a:gd name="T5" fmla="*/ 0 h 148"/>
                <a:gd name="T6" fmla="*/ 207 w 207"/>
                <a:gd name="T7" fmla="*/ 28 h 148"/>
                <a:gd name="T8" fmla="*/ 0 w 207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48">
                  <a:moveTo>
                    <a:pt x="0" y="148"/>
                  </a:moveTo>
                  <a:lnTo>
                    <a:pt x="0" y="120"/>
                  </a:lnTo>
                  <a:lnTo>
                    <a:pt x="207" y="0"/>
                  </a:lnTo>
                  <a:lnTo>
                    <a:pt x="207" y="28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08"/>
            <p:cNvSpPr>
              <a:spLocks/>
            </p:cNvSpPr>
            <p:nvPr/>
          </p:nvSpPr>
          <p:spPr bwMode="auto">
            <a:xfrm>
              <a:off x="2858" y="1569"/>
              <a:ext cx="32" cy="34"/>
            </a:xfrm>
            <a:custGeom>
              <a:avLst/>
              <a:gdLst>
                <a:gd name="T0" fmla="*/ 0 w 32"/>
                <a:gd name="T1" fmla="*/ 34 h 34"/>
                <a:gd name="T2" fmla="*/ 0 w 32"/>
                <a:gd name="T3" fmla="*/ 6 h 34"/>
                <a:gd name="T4" fmla="*/ 10 w 32"/>
                <a:gd name="T5" fmla="*/ 0 h 34"/>
                <a:gd name="T6" fmla="*/ 32 w 32"/>
                <a:gd name="T7" fmla="*/ 15 h 34"/>
                <a:gd name="T8" fmla="*/ 0 w 3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4">
                  <a:moveTo>
                    <a:pt x="0" y="34"/>
                  </a:moveTo>
                  <a:lnTo>
                    <a:pt x="0" y="6"/>
                  </a:lnTo>
                  <a:lnTo>
                    <a:pt x="10" y="0"/>
                  </a:lnTo>
                  <a:lnTo>
                    <a:pt x="32" y="15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09"/>
            <p:cNvSpPr>
              <a:spLocks/>
            </p:cNvSpPr>
            <p:nvPr/>
          </p:nvSpPr>
          <p:spPr bwMode="auto">
            <a:xfrm>
              <a:off x="2821" y="1600"/>
              <a:ext cx="112" cy="80"/>
            </a:xfrm>
            <a:custGeom>
              <a:avLst/>
              <a:gdLst>
                <a:gd name="T0" fmla="*/ 0 w 112"/>
                <a:gd name="T1" fmla="*/ 80 h 80"/>
                <a:gd name="T2" fmla="*/ 0 w 112"/>
                <a:gd name="T3" fmla="*/ 52 h 80"/>
                <a:gd name="T4" fmla="*/ 90 w 112"/>
                <a:gd name="T5" fmla="*/ 0 h 80"/>
                <a:gd name="T6" fmla="*/ 112 w 112"/>
                <a:gd name="T7" fmla="*/ 16 h 80"/>
                <a:gd name="T8" fmla="*/ 0 w 112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80">
                  <a:moveTo>
                    <a:pt x="0" y="80"/>
                  </a:moveTo>
                  <a:lnTo>
                    <a:pt x="0" y="52"/>
                  </a:lnTo>
                  <a:lnTo>
                    <a:pt x="90" y="0"/>
                  </a:lnTo>
                  <a:lnTo>
                    <a:pt x="112" y="16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10"/>
            <p:cNvSpPr>
              <a:spLocks noEditPoints="1"/>
            </p:cNvSpPr>
            <p:nvPr/>
          </p:nvSpPr>
          <p:spPr bwMode="auto">
            <a:xfrm>
              <a:off x="3943" y="2498"/>
              <a:ext cx="24" cy="4"/>
            </a:xfrm>
            <a:custGeom>
              <a:avLst/>
              <a:gdLst>
                <a:gd name="T0" fmla="*/ 0 w 50"/>
                <a:gd name="T1" fmla="*/ 7 h 7"/>
                <a:gd name="T2" fmla="*/ 0 w 50"/>
                <a:gd name="T3" fmla="*/ 7 h 7"/>
                <a:gd name="T4" fmla="*/ 0 w 50"/>
                <a:gd name="T5" fmla="*/ 7 h 7"/>
                <a:gd name="T6" fmla="*/ 0 w 50"/>
                <a:gd name="T7" fmla="*/ 7 h 7"/>
                <a:gd name="T8" fmla="*/ 0 w 50"/>
                <a:gd name="T9" fmla="*/ 7 h 7"/>
                <a:gd name="T10" fmla="*/ 50 w 50"/>
                <a:gd name="T11" fmla="*/ 0 h 7"/>
                <a:gd name="T12" fmla="*/ 0 w 5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"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7"/>
                  </a:moveTo>
                  <a:cubicBezTo>
                    <a:pt x="17" y="7"/>
                    <a:pt x="34" y="5"/>
                    <a:pt x="50" y="0"/>
                  </a:cubicBezTo>
                  <a:cubicBezTo>
                    <a:pt x="34" y="5"/>
                    <a:pt x="17" y="7"/>
                    <a:pt x="0" y="7"/>
                  </a:cubicBezTo>
                  <a:close/>
                </a:path>
              </a:pathLst>
            </a:custGeom>
            <a:solidFill>
              <a:srgbClr val="DABA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11"/>
            <p:cNvSpPr>
              <a:spLocks/>
            </p:cNvSpPr>
            <p:nvPr/>
          </p:nvSpPr>
          <p:spPr bwMode="auto">
            <a:xfrm>
              <a:off x="3843" y="2383"/>
              <a:ext cx="144" cy="127"/>
            </a:xfrm>
            <a:custGeom>
              <a:avLst/>
              <a:gdLst>
                <a:gd name="T0" fmla="*/ 201 w 299"/>
                <a:gd name="T1" fmla="*/ 263 h 263"/>
                <a:gd name="T2" fmla="*/ 181 w 299"/>
                <a:gd name="T3" fmla="*/ 262 h 263"/>
                <a:gd name="T4" fmla="*/ 104 w 299"/>
                <a:gd name="T5" fmla="*/ 242 h 263"/>
                <a:gd name="T6" fmla="*/ 55 w 299"/>
                <a:gd name="T7" fmla="*/ 164 h 263"/>
                <a:gd name="T8" fmla="*/ 50 w 299"/>
                <a:gd name="T9" fmla="*/ 111 h 263"/>
                <a:gd name="T10" fmla="*/ 21 w 299"/>
                <a:gd name="T11" fmla="*/ 46 h 263"/>
                <a:gd name="T12" fmla="*/ 9 w 299"/>
                <a:gd name="T13" fmla="*/ 33 h 263"/>
                <a:gd name="T14" fmla="*/ 1 w 299"/>
                <a:gd name="T15" fmla="*/ 10 h 263"/>
                <a:gd name="T16" fmla="*/ 2 w 299"/>
                <a:gd name="T17" fmla="*/ 0 h 263"/>
                <a:gd name="T18" fmla="*/ 2 w 299"/>
                <a:gd name="T19" fmla="*/ 0 h 263"/>
                <a:gd name="T20" fmla="*/ 2 w 299"/>
                <a:gd name="T21" fmla="*/ 0 h 263"/>
                <a:gd name="T22" fmla="*/ 28 w 299"/>
                <a:gd name="T23" fmla="*/ 29 h 263"/>
                <a:gd name="T24" fmla="*/ 56 w 299"/>
                <a:gd name="T25" fmla="*/ 94 h 263"/>
                <a:gd name="T26" fmla="*/ 61 w 299"/>
                <a:gd name="T27" fmla="*/ 147 h 263"/>
                <a:gd name="T28" fmla="*/ 110 w 299"/>
                <a:gd name="T29" fmla="*/ 225 h 263"/>
                <a:gd name="T30" fmla="*/ 187 w 299"/>
                <a:gd name="T31" fmla="*/ 245 h 263"/>
                <a:gd name="T32" fmla="*/ 207 w 299"/>
                <a:gd name="T33" fmla="*/ 246 h 263"/>
                <a:gd name="T34" fmla="*/ 207 w 299"/>
                <a:gd name="T35" fmla="*/ 246 h 263"/>
                <a:gd name="T36" fmla="*/ 207 w 299"/>
                <a:gd name="T37" fmla="*/ 246 h 263"/>
                <a:gd name="T38" fmla="*/ 207 w 299"/>
                <a:gd name="T39" fmla="*/ 246 h 263"/>
                <a:gd name="T40" fmla="*/ 207 w 299"/>
                <a:gd name="T41" fmla="*/ 246 h 263"/>
                <a:gd name="T42" fmla="*/ 257 w 299"/>
                <a:gd name="T43" fmla="*/ 239 h 263"/>
                <a:gd name="T44" fmla="*/ 258 w 299"/>
                <a:gd name="T45" fmla="*/ 238 h 263"/>
                <a:gd name="T46" fmla="*/ 299 w 299"/>
                <a:gd name="T47" fmla="*/ 204 h 263"/>
                <a:gd name="T48" fmla="*/ 299 w 299"/>
                <a:gd name="T49" fmla="*/ 205 h 263"/>
                <a:gd name="T50" fmla="*/ 252 w 299"/>
                <a:gd name="T51" fmla="*/ 255 h 263"/>
                <a:gd name="T52" fmla="*/ 201 w 299"/>
                <a:gd name="T53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63">
                  <a:moveTo>
                    <a:pt x="201" y="263"/>
                  </a:moveTo>
                  <a:cubicBezTo>
                    <a:pt x="194" y="263"/>
                    <a:pt x="187" y="262"/>
                    <a:pt x="181" y="262"/>
                  </a:cubicBezTo>
                  <a:cubicBezTo>
                    <a:pt x="154" y="260"/>
                    <a:pt x="126" y="256"/>
                    <a:pt x="104" y="242"/>
                  </a:cubicBezTo>
                  <a:cubicBezTo>
                    <a:pt x="77" y="224"/>
                    <a:pt x="62" y="194"/>
                    <a:pt x="55" y="164"/>
                  </a:cubicBezTo>
                  <a:cubicBezTo>
                    <a:pt x="51" y="146"/>
                    <a:pt x="50" y="129"/>
                    <a:pt x="50" y="111"/>
                  </a:cubicBezTo>
                  <a:cubicBezTo>
                    <a:pt x="50" y="86"/>
                    <a:pt x="39" y="63"/>
                    <a:pt x="21" y="46"/>
                  </a:cubicBezTo>
                  <a:cubicBezTo>
                    <a:pt x="17" y="41"/>
                    <a:pt x="13" y="37"/>
                    <a:pt x="9" y="33"/>
                  </a:cubicBezTo>
                  <a:cubicBezTo>
                    <a:pt x="3" y="26"/>
                    <a:pt x="0" y="18"/>
                    <a:pt x="1" y="10"/>
                  </a:cubicBezTo>
                  <a:cubicBezTo>
                    <a:pt x="1" y="6"/>
                    <a:pt x="2" y="3"/>
                    <a:pt x="2" y="0"/>
                  </a:cubicBezTo>
                  <a:lnTo>
                    <a:pt x="2" y="0"/>
                  </a:lnTo>
                  <a:lnTo>
                    <a:pt x="2" y="0"/>
                  </a:lnTo>
                  <a:cubicBezTo>
                    <a:pt x="9" y="7"/>
                    <a:pt x="24" y="25"/>
                    <a:pt x="28" y="29"/>
                  </a:cubicBezTo>
                  <a:cubicBezTo>
                    <a:pt x="46" y="46"/>
                    <a:pt x="56" y="69"/>
                    <a:pt x="56" y="94"/>
                  </a:cubicBezTo>
                  <a:cubicBezTo>
                    <a:pt x="56" y="112"/>
                    <a:pt x="58" y="130"/>
                    <a:pt x="61" y="147"/>
                  </a:cubicBezTo>
                  <a:cubicBezTo>
                    <a:pt x="68" y="178"/>
                    <a:pt x="84" y="208"/>
                    <a:pt x="110" y="225"/>
                  </a:cubicBezTo>
                  <a:cubicBezTo>
                    <a:pt x="133" y="240"/>
                    <a:pt x="160" y="244"/>
                    <a:pt x="187" y="245"/>
                  </a:cubicBezTo>
                  <a:cubicBezTo>
                    <a:pt x="194" y="246"/>
                    <a:pt x="200" y="246"/>
                    <a:pt x="207" y="246"/>
                  </a:cubicBezTo>
                  <a:lnTo>
                    <a:pt x="207" y="246"/>
                  </a:lnTo>
                  <a:lnTo>
                    <a:pt x="207" y="246"/>
                  </a:lnTo>
                  <a:lnTo>
                    <a:pt x="207" y="246"/>
                  </a:lnTo>
                  <a:lnTo>
                    <a:pt x="207" y="246"/>
                  </a:lnTo>
                  <a:cubicBezTo>
                    <a:pt x="224" y="246"/>
                    <a:pt x="241" y="244"/>
                    <a:pt x="257" y="239"/>
                  </a:cubicBezTo>
                  <a:cubicBezTo>
                    <a:pt x="257" y="238"/>
                    <a:pt x="258" y="238"/>
                    <a:pt x="258" y="238"/>
                  </a:cubicBezTo>
                  <a:cubicBezTo>
                    <a:pt x="275" y="232"/>
                    <a:pt x="291" y="220"/>
                    <a:pt x="299" y="204"/>
                  </a:cubicBezTo>
                  <a:lnTo>
                    <a:pt x="299" y="205"/>
                  </a:lnTo>
                  <a:cubicBezTo>
                    <a:pt x="294" y="228"/>
                    <a:pt x="274" y="246"/>
                    <a:pt x="252" y="255"/>
                  </a:cubicBezTo>
                  <a:cubicBezTo>
                    <a:pt x="235" y="261"/>
                    <a:pt x="218" y="263"/>
                    <a:pt x="201" y="263"/>
                  </a:cubicBez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12"/>
            <p:cNvSpPr>
              <a:spLocks/>
            </p:cNvSpPr>
            <p:nvPr/>
          </p:nvSpPr>
          <p:spPr bwMode="auto">
            <a:xfrm>
              <a:off x="3844" y="2353"/>
              <a:ext cx="145" cy="149"/>
            </a:xfrm>
            <a:custGeom>
              <a:avLst/>
              <a:gdLst>
                <a:gd name="T0" fmla="*/ 205 w 301"/>
                <a:gd name="T1" fmla="*/ 309 h 309"/>
                <a:gd name="T2" fmla="*/ 205 w 301"/>
                <a:gd name="T3" fmla="*/ 309 h 309"/>
                <a:gd name="T4" fmla="*/ 205 w 301"/>
                <a:gd name="T5" fmla="*/ 309 h 309"/>
                <a:gd name="T6" fmla="*/ 185 w 301"/>
                <a:gd name="T7" fmla="*/ 308 h 309"/>
                <a:gd name="T8" fmla="*/ 108 w 301"/>
                <a:gd name="T9" fmla="*/ 288 h 309"/>
                <a:gd name="T10" fmla="*/ 59 w 301"/>
                <a:gd name="T11" fmla="*/ 210 h 309"/>
                <a:gd name="T12" fmla="*/ 54 w 301"/>
                <a:gd name="T13" fmla="*/ 157 h 309"/>
                <a:gd name="T14" fmla="*/ 26 w 301"/>
                <a:gd name="T15" fmla="*/ 92 h 309"/>
                <a:gd name="T16" fmla="*/ 0 w 301"/>
                <a:gd name="T17" fmla="*/ 63 h 309"/>
                <a:gd name="T18" fmla="*/ 0 w 301"/>
                <a:gd name="T19" fmla="*/ 63 h 309"/>
                <a:gd name="T20" fmla="*/ 19 w 301"/>
                <a:gd name="T21" fmla="*/ 2 h 309"/>
                <a:gd name="T22" fmla="*/ 98 w 301"/>
                <a:gd name="T23" fmla="*/ 23 h 309"/>
                <a:gd name="T24" fmla="*/ 186 w 301"/>
                <a:gd name="T25" fmla="*/ 0 h 309"/>
                <a:gd name="T26" fmla="*/ 202 w 301"/>
                <a:gd name="T27" fmla="*/ 79 h 309"/>
                <a:gd name="T28" fmla="*/ 259 w 301"/>
                <a:gd name="T29" fmla="*/ 173 h 309"/>
                <a:gd name="T30" fmla="*/ 289 w 301"/>
                <a:gd name="T31" fmla="*/ 217 h 309"/>
                <a:gd name="T32" fmla="*/ 297 w 301"/>
                <a:gd name="T33" fmla="*/ 267 h 309"/>
                <a:gd name="T34" fmla="*/ 297 w 301"/>
                <a:gd name="T35" fmla="*/ 267 h 309"/>
                <a:gd name="T36" fmla="*/ 256 w 301"/>
                <a:gd name="T37" fmla="*/ 301 h 309"/>
                <a:gd name="T38" fmla="*/ 255 w 301"/>
                <a:gd name="T39" fmla="*/ 302 h 309"/>
                <a:gd name="T40" fmla="*/ 205 w 301"/>
                <a:gd name="T41" fmla="*/ 309 h 309"/>
                <a:gd name="T42" fmla="*/ 205 w 301"/>
                <a:gd name="T43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1" h="309">
                  <a:moveTo>
                    <a:pt x="205" y="309"/>
                  </a:moveTo>
                  <a:lnTo>
                    <a:pt x="205" y="309"/>
                  </a:lnTo>
                  <a:lnTo>
                    <a:pt x="205" y="309"/>
                  </a:lnTo>
                  <a:cubicBezTo>
                    <a:pt x="198" y="309"/>
                    <a:pt x="192" y="309"/>
                    <a:pt x="185" y="308"/>
                  </a:cubicBezTo>
                  <a:cubicBezTo>
                    <a:pt x="158" y="307"/>
                    <a:pt x="131" y="303"/>
                    <a:pt x="108" y="288"/>
                  </a:cubicBezTo>
                  <a:cubicBezTo>
                    <a:pt x="82" y="271"/>
                    <a:pt x="66" y="241"/>
                    <a:pt x="59" y="210"/>
                  </a:cubicBezTo>
                  <a:cubicBezTo>
                    <a:pt x="56" y="193"/>
                    <a:pt x="54" y="175"/>
                    <a:pt x="54" y="157"/>
                  </a:cubicBezTo>
                  <a:cubicBezTo>
                    <a:pt x="54" y="132"/>
                    <a:pt x="44" y="109"/>
                    <a:pt x="26" y="92"/>
                  </a:cubicBezTo>
                  <a:cubicBezTo>
                    <a:pt x="22" y="88"/>
                    <a:pt x="7" y="70"/>
                    <a:pt x="0" y="63"/>
                  </a:cubicBezTo>
                  <a:lnTo>
                    <a:pt x="0" y="63"/>
                  </a:lnTo>
                  <a:cubicBezTo>
                    <a:pt x="4" y="37"/>
                    <a:pt x="12" y="15"/>
                    <a:pt x="19" y="2"/>
                  </a:cubicBezTo>
                  <a:cubicBezTo>
                    <a:pt x="36" y="12"/>
                    <a:pt x="63" y="23"/>
                    <a:pt x="98" y="23"/>
                  </a:cubicBezTo>
                  <a:cubicBezTo>
                    <a:pt x="124" y="23"/>
                    <a:pt x="153" y="17"/>
                    <a:pt x="186" y="0"/>
                  </a:cubicBezTo>
                  <a:cubicBezTo>
                    <a:pt x="185" y="27"/>
                    <a:pt x="192" y="54"/>
                    <a:pt x="202" y="79"/>
                  </a:cubicBezTo>
                  <a:cubicBezTo>
                    <a:pt x="216" y="113"/>
                    <a:pt x="237" y="144"/>
                    <a:pt x="259" y="173"/>
                  </a:cubicBezTo>
                  <a:cubicBezTo>
                    <a:pt x="270" y="187"/>
                    <a:pt x="281" y="201"/>
                    <a:pt x="289" y="217"/>
                  </a:cubicBezTo>
                  <a:cubicBezTo>
                    <a:pt x="297" y="232"/>
                    <a:pt x="301" y="250"/>
                    <a:pt x="297" y="267"/>
                  </a:cubicBezTo>
                  <a:lnTo>
                    <a:pt x="297" y="267"/>
                  </a:lnTo>
                  <a:cubicBezTo>
                    <a:pt x="289" y="283"/>
                    <a:pt x="273" y="295"/>
                    <a:pt x="256" y="301"/>
                  </a:cubicBezTo>
                  <a:cubicBezTo>
                    <a:pt x="256" y="301"/>
                    <a:pt x="255" y="301"/>
                    <a:pt x="255" y="302"/>
                  </a:cubicBezTo>
                  <a:cubicBezTo>
                    <a:pt x="239" y="307"/>
                    <a:pt x="222" y="309"/>
                    <a:pt x="205" y="309"/>
                  </a:cubicBezTo>
                  <a:lnTo>
                    <a:pt x="205" y="309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13"/>
            <p:cNvSpPr>
              <a:spLocks/>
            </p:cNvSpPr>
            <p:nvPr/>
          </p:nvSpPr>
          <p:spPr bwMode="auto">
            <a:xfrm>
              <a:off x="3842" y="2268"/>
              <a:ext cx="103" cy="96"/>
            </a:xfrm>
            <a:custGeom>
              <a:avLst/>
              <a:gdLst>
                <a:gd name="T0" fmla="*/ 102 w 213"/>
                <a:gd name="T1" fmla="*/ 201 h 201"/>
                <a:gd name="T2" fmla="*/ 23 w 213"/>
                <a:gd name="T3" fmla="*/ 180 h 201"/>
                <a:gd name="T4" fmla="*/ 2 w 213"/>
                <a:gd name="T5" fmla="*/ 165 h 201"/>
                <a:gd name="T6" fmla="*/ 0 w 213"/>
                <a:gd name="T7" fmla="*/ 25 h 201"/>
                <a:gd name="T8" fmla="*/ 0 w 213"/>
                <a:gd name="T9" fmla="*/ 0 h 201"/>
                <a:gd name="T10" fmla="*/ 213 w 213"/>
                <a:gd name="T11" fmla="*/ 153 h 201"/>
                <a:gd name="T12" fmla="*/ 211 w 213"/>
                <a:gd name="T13" fmla="*/ 165 h 201"/>
                <a:gd name="T14" fmla="*/ 190 w 213"/>
                <a:gd name="T15" fmla="*/ 178 h 201"/>
                <a:gd name="T16" fmla="*/ 102 w 213"/>
                <a:gd name="T17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201">
                  <a:moveTo>
                    <a:pt x="102" y="201"/>
                  </a:moveTo>
                  <a:cubicBezTo>
                    <a:pt x="67" y="201"/>
                    <a:pt x="40" y="190"/>
                    <a:pt x="23" y="180"/>
                  </a:cubicBezTo>
                  <a:cubicBezTo>
                    <a:pt x="9" y="172"/>
                    <a:pt x="2" y="165"/>
                    <a:pt x="2" y="165"/>
                  </a:cubicBezTo>
                  <a:cubicBezTo>
                    <a:pt x="2" y="119"/>
                    <a:pt x="1" y="73"/>
                    <a:pt x="0" y="25"/>
                  </a:cubicBezTo>
                  <a:cubicBezTo>
                    <a:pt x="0" y="17"/>
                    <a:pt x="0" y="8"/>
                    <a:pt x="0" y="0"/>
                  </a:cubicBezTo>
                  <a:lnTo>
                    <a:pt x="213" y="153"/>
                  </a:lnTo>
                  <a:lnTo>
                    <a:pt x="211" y="165"/>
                  </a:lnTo>
                  <a:cubicBezTo>
                    <a:pt x="204" y="170"/>
                    <a:pt x="197" y="174"/>
                    <a:pt x="190" y="178"/>
                  </a:cubicBezTo>
                  <a:cubicBezTo>
                    <a:pt x="157" y="195"/>
                    <a:pt x="128" y="201"/>
                    <a:pt x="102" y="201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14"/>
            <p:cNvSpPr>
              <a:spLocks/>
            </p:cNvSpPr>
            <p:nvPr/>
          </p:nvSpPr>
          <p:spPr bwMode="auto">
            <a:xfrm>
              <a:off x="4474" y="2660"/>
              <a:ext cx="183" cy="107"/>
            </a:xfrm>
            <a:custGeom>
              <a:avLst/>
              <a:gdLst>
                <a:gd name="T0" fmla="*/ 0 w 183"/>
                <a:gd name="T1" fmla="*/ 80 h 107"/>
                <a:gd name="T2" fmla="*/ 139 w 183"/>
                <a:gd name="T3" fmla="*/ 0 h 107"/>
                <a:gd name="T4" fmla="*/ 183 w 183"/>
                <a:gd name="T5" fmla="*/ 24 h 107"/>
                <a:gd name="T6" fmla="*/ 41 w 183"/>
                <a:gd name="T7" fmla="*/ 107 h 107"/>
                <a:gd name="T8" fmla="*/ 0 w 183"/>
                <a:gd name="T9" fmla="*/ 8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07">
                  <a:moveTo>
                    <a:pt x="0" y="80"/>
                  </a:moveTo>
                  <a:lnTo>
                    <a:pt x="139" y="0"/>
                  </a:lnTo>
                  <a:lnTo>
                    <a:pt x="183" y="24"/>
                  </a:lnTo>
                  <a:lnTo>
                    <a:pt x="41" y="107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15"/>
            <p:cNvSpPr>
              <a:spLocks/>
            </p:cNvSpPr>
            <p:nvPr/>
          </p:nvSpPr>
          <p:spPr bwMode="auto">
            <a:xfrm>
              <a:off x="4474" y="2740"/>
              <a:ext cx="41" cy="143"/>
            </a:xfrm>
            <a:custGeom>
              <a:avLst/>
              <a:gdLst>
                <a:gd name="T0" fmla="*/ 0 w 41"/>
                <a:gd name="T1" fmla="*/ 0 h 143"/>
                <a:gd name="T2" fmla="*/ 0 w 41"/>
                <a:gd name="T3" fmla="*/ 119 h 143"/>
                <a:gd name="T4" fmla="*/ 40 w 41"/>
                <a:gd name="T5" fmla="*/ 143 h 143"/>
                <a:gd name="T6" fmla="*/ 41 w 41"/>
                <a:gd name="T7" fmla="*/ 27 h 143"/>
                <a:gd name="T8" fmla="*/ 0 w 41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43">
                  <a:moveTo>
                    <a:pt x="0" y="0"/>
                  </a:moveTo>
                  <a:lnTo>
                    <a:pt x="0" y="119"/>
                  </a:lnTo>
                  <a:lnTo>
                    <a:pt x="40" y="143"/>
                  </a:lnTo>
                  <a:lnTo>
                    <a:pt x="41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16"/>
            <p:cNvSpPr>
              <a:spLocks/>
            </p:cNvSpPr>
            <p:nvPr/>
          </p:nvSpPr>
          <p:spPr bwMode="auto">
            <a:xfrm>
              <a:off x="4264" y="2655"/>
              <a:ext cx="733" cy="423"/>
            </a:xfrm>
            <a:custGeom>
              <a:avLst/>
              <a:gdLst>
                <a:gd name="T0" fmla="*/ 0 w 733"/>
                <a:gd name="T1" fmla="*/ 256 h 423"/>
                <a:gd name="T2" fmla="*/ 444 w 733"/>
                <a:gd name="T3" fmla="*/ 0 h 423"/>
                <a:gd name="T4" fmla="*/ 733 w 733"/>
                <a:gd name="T5" fmla="*/ 168 h 423"/>
                <a:gd name="T6" fmla="*/ 293 w 733"/>
                <a:gd name="T7" fmla="*/ 423 h 423"/>
                <a:gd name="T8" fmla="*/ 0 w 733"/>
                <a:gd name="T9" fmla="*/ 25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3" h="423">
                  <a:moveTo>
                    <a:pt x="0" y="256"/>
                  </a:moveTo>
                  <a:lnTo>
                    <a:pt x="444" y="0"/>
                  </a:lnTo>
                  <a:lnTo>
                    <a:pt x="733" y="168"/>
                  </a:lnTo>
                  <a:lnTo>
                    <a:pt x="293" y="423"/>
                  </a:lnTo>
                  <a:lnTo>
                    <a:pt x="0" y="256"/>
                  </a:lnTo>
                  <a:close/>
                </a:path>
              </a:pathLst>
            </a:custGeom>
            <a:solidFill>
              <a:srgbClr val="3353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17"/>
            <p:cNvSpPr>
              <a:spLocks/>
            </p:cNvSpPr>
            <p:nvPr/>
          </p:nvSpPr>
          <p:spPr bwMode="auto">
            <a:xfrm>
              <a:off x="4552" y="2693"/>
              <a:ext cx="270" cy="157"/>
            </a:xfrm>
            <a:custGeom>
              <a:avLst/>
              <a:gdLst>
                <a:gd name="T0" fmla="*/ 0 w 270"/>
                <a:gd name="T1" fmla="*/ 95 h 157"/>
                <a:gd name="T2" fmla="*/ 164 w 270"/>
                <a:gd name="T3" fmla="*/ 0 h 157"/>
                <a:gd name="T4" fmla="*/ 270 w 270"/>
                <a:gd name="T5" fmla="*/ 62 h 157"/>
                <a:gd name="T6" fmla="*/ 108 w 270"/>
                <a:gd name="T7" fmla="*/ 157 h 157"/>
                <a:gd name="T8" fmla="*/ 0 w 270"/>
                <a:gd name="T9" fmla="*/ 9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57">
                  <a:moveTo>
                    <a:pt x="0" y="95"/>
                  </a:moveTo>
                  <a:lnTo>
                    <a:pt x="164" y="0"/>
                  </a:lnTo>
                  <a:lnTo>
                    <a:pt x="270" y="62"/>
                  </a:lnTo>
                  <a:lnTo>
                    <a:pt x="108" y="157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18"/>
            <p:cNvSpPr>
              <a:spLocks/>
            </p:cNvSpPr>
            <p:nvPr/>
          </p:nvSpPr>
          <p:spPr bwMode="auto">
            <a:xfrm>
              <a:off x="4264" y="2911"/>
              <a:ext cx="293" cy="311"/>
            </a:xfrm>
            <a:custGeom>
              <a:avLst/>
              <a:gdLst>
                <a:gd name="T0" fmla="*/ 0 w 293"/>
                <a:gd name="T1" fmla="*/ 142 h 311"/>
                <a:gd name="T2" fmla="*/ 0 w 293"/>
                <a:gd name="T3" fmla="*/ 0 h 311"/>
                <a:gd name="T4" fmla="*/ 293 w 293"/>
                <a:gd name="T5" fmla="*/ 167 h 311"/>
                <a:gd name="T6" fmla="*/ 293 w 293"/>
                <a:gd name="T7" fmla="*/ 311 h 311"/>
                <a:gd name="T8" fmla="*/ 0 w 293"/>
                <a:gd name="T9" fmla="*/ 14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311">
                  <a:moveTo>
                    <a:pt x="0" y="142"/>
                  </a:moveTo>
                  <a:lnTo>
                    <a:pt x="0" y="0"/>
                  </a:lnTo>
                  <a:lnTo>
                    <a:pt x="293" y="167"/>
                  </a:lnTo>
                  <a:lnTo>
                    <a:pt x="293" y="311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19"/>
            <p:cNvSpPr>
              <a:spLocks/>
            </p:cNvSpPr>
            <p:nvPr/>
          </p:nvSpPr>
          <p:spPr bwMode="auto">
            <a:xfrm>
              <a:off x="4557" y="2823"/>
              <a:ext cx="440" cy="399"/>
            </a:xfrm>
            <a:custGeom>
              <a:avLst/>
              <a:gdLst>
                <a:gd name="T0" fmla="*/ 0 w 440"/>
                <a:gd name="T1" fmla="*/ 399 h 399"/>
                <a:gd name="T2" fmla="*/ 440 w 440"/>
                <a:gd name="T3" fmla="*/ 144 h 399"/>
                <a:gd name="T4" fmla="*/ 440 w 440"/>
                <a:gd name="T5" fmla="*/ 0 h 399"/>
                <a:gd name="T6" fmla="*/ 0 w 440"/>
                <a:gd name="T7" fmla="*/ 255 h 399"/>
                <a:gd name="T8" fmla="*/ 0 w 440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399">
                  <a:moveTo>
                    <a:pt x="0" y="399"/>
                  </a:moveTo>
                  <a:lnTo>
                    <a:pt x="440" y="144"/>
                  </a:lnTo>
                  <a:lnTo>
                    <a:pt x="440" y="0"/>
                  </a:lnTo>
                  <a:lnTo>
                    <a:pt x="0" y="255"/>
                  </a:lnTo>
                  <a:lnTo>
                    <a:pt x="0" y="399"/>
                  </a:lnTo>
                  <a:close/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20"/>
            <p:cNvSpPr>
              <a:spLocks/>
            </p:cNvSpPr>
            <p:nvPr/>
          </p:nvSpPr>
          <p:spPr bwMode="auto">
            <a:xfrm>
              <a:off x="4386" y="3059"/>
              <a:ext cx="139" cy="89"/>
            </a:xfrm>
            <a:custGeom>
              <a:avLst/>
              <a:gdLst>
                <a:gd name="T0" fmla="*/ 279 w 289"/>
                <a:gd name="T1" fmla="*/ 159 h 185"/>
                <a:gd name="T2" fmla="*/ 289 w 289"/>
                <a:gd name="T3" fmla="*/ 176 h 185"/>
                <a:gd name="T4" fmla="*/ 279 w 289"/>
                <a:gd name="T5" fmla="*/ 182 h 185"/>
                <a:gd name="T6" fmla="*/ 10 w 289"/>
                <a:gd name="T7" fmla="*/ 26 h 185"/>
                <a:gd name="T8" fmla="*/ 0 w 289"/>
                <a:gd name="T9" fmla="*/ 9 h 185"/>
                <a:gd name="T10" fmla="*/ 10 w 289"/>
                <a:gd name="T11" fmla="*/ 3 h 185"/>
                <a:gd name="T12" fmla="*/ 279 w 289"/>
                <a:gd name="T13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185">
                  <a:moveTo>
                    <a:pt x="279" y="159"/>
                  </a:moveTo>
                  <a:cubicBezTo>
                    <a:pt x="285" y="162"/>
                    <a:pt x="289" y="169"/>
                    <a:pt x="289" y="176"/>
                  </a:cubicBezTo>
                  <a:cubicBezTo>
                    <a:pt x="289" y="182"/>
                    <a:pt x="285" y="185"/>
                    <a:pt x="279" y="182"/>
                  </a:cubicBezTo>
                  <a:lnTo>
                    <a:pt x="10" y="26"/>
                  </a:lnTo>
                  <a:cubicBezTo>
                    <a:pt x="5" y="23"/>
                    <a:pt x="0" y="15"/>
                    <a:pt x="0" y="9"/>
                  </a:cubicBezTo>
                  <a:cubicBezTo>
                    <a:pt x="0" y="3"/>
                    <a:pt x="5" y="0"/>
                    <a:pt x="10" y="3"/>
                  </a:cubicBezTo>
                  <a:lnTo>
                    <a:pt x="279" y="159"/>
                  </a:lnTo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21"/>
            <p:cNvSpPr>
              <a:spLocks/>
            </p:cNvSpPr>
            <p:nvPr/>
          </p:nvSpPr>
          <p:spPr bwMode="auto">
            <a:xfrm>
              <a:off x="4386" y="3041"/>
              <a:ext cx="139" cy="89"/>
            </a:xfrm>
            <a:custGeom>
              <a:avLst/>
              <a:gdLst>
                <a:gd name="T0" fmla="*/ 279 w 289"/>
                <a:gd name="T1" fmla="*/ 158 h 184"/>
                <a:gd name="T2" fmla="*/ 289 w 289"/>
                <a:gd name="T3" fmla="*/ 175 h 184"/>
                <a:gd name="T4" fmla="*/ 279 w 289"/>
                <a:gd name="T5" fmla="*/ 181 h 184"/>
                <a:gd name="T6" fmla="*/ 10 w 289"/>
                <a:gd name="T7" fmla="*/ 26 h 184"/>
                <a:gd name="T8" fmla="*/ 0 w 289"/>
                <a:gd name="T9" fmla="*/ 8 h 184"/>
                <a:gd name="T10" fmla="*/ 10 w 289"/>
                <a:gd name="T11" fmla="*/ 3 h 184"/>
                <a:gd name="T12" fmla="*/ 279 w 289"/>
                <a:gd name="T13" fmla="*/ 15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184">
                  <a:moveTo>
                    <a:pt x="279" y="158"/>
                  </a:moveTo>
                  <a:cubicBezTo>
                    <a:pt x="285" y="161"/>
                    <a:pt x="289" y="169"/>
                    <a:pt x="289" y="175"/>
                  </a:cubicBezTo>
                  <a:cubicBezTo>
                    <a:pt x="289" y="182"/>
                    <a:pt x="285" y="184"/>
                    <a:pt x="279" y="181"/>
                  </a:cubicBezTo>
                  <a:lnTo>
                    <a:pt x="10" y="26"/>
                  </a:lnTo>
                  <a:cubicBezTo>
                    <a:pt x="5" y="23"/>
                    <a:pt x="0" y="15"/>
                    <a:pt x="0" y="8"/>
                  </a:cubicBezTo>
                  <a:cubicBezTo>
                    <a:pt x="0" y="2"/>
                    <a:pt x="5" y="0"/>
                    <a:pt x="10" y="3"/>
                  </a:cubicBezTo>
                  <a:lnTo>
                    <a:pt x="279" y="158"/>
                  </a:lnTo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22"/>
            <p:cNvSpPr>
              <a:spLocks/>
            </p:cNvSpPr>
            <p:nvPr/>
          </p:nvSpPr>
          <p:spPr bwMode="auto">
            <a:xfrm>
              <a:off x="4386" y="3077"/>
              <a:ext cx="139" cy="89"/>
            </a:xfrm>
            <a:custGeom>
              <a:avLst/>
              <a:gdLst>
                <a:gd name="T0" fmla="*/ 279 w 289"/>
                <a:gd name="T1" fmla="*/ 158 h 184"/>
                <a:gd name="T2" fmla="*/ 289 w 289"/>
                <a:gd name="T3" fmla="*/ 175 h 184"/>
                <a:gd name="T4" fmla="*/ 279 w 289"/>
                <a:gd name="T5" fmla="*/ 181 h 184"/>
                <a:gd name="T6" fmla="*/ 10 w 289"/>
                <a:gd name="T7" fmla="*/ 26 h 184"/>
                <a:gd name="T8" fmla="*/ 0 w 289"/>
                <a:gd name="T9" fmla="*/ 9 h 184"/>
                <a:gd name="T10" fmla="*/ 10 w 289"/>
                <a:gd name="T11" fmla="*/ 3 h 184"/>
                <a:gd name="T12" fmla="*/ 279 w 289"/>
                <a:gd name="T13" fmla="*/ 15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184">
                  <a:moveTo>
                    <a:pt x="279" y="158"/>
                  </a:moveTo>
                  <a:cubicBezTo>
                    <a:pt x="285" y="161"/>
                    <a:pt x="289" y="169"/>
                    <a:pt x="289" y="175"/>
                  </a:cubicBezTo>
                  <a:cubicBezTo>
                    <a:pt x="289" y="182"/>
                    <a:pt x="284" y="184"/>
                    <a:pt x="279" y="181"/>
                  </a:cubicBezTo>
                  <a:lnTo>
                    <a:pt x="10" y="26"/>
                  </a:lnTo>
                  <a:cubicBezTo>
                    <a:pt x="5" y="23"/>
                    <a:pt x="0" y="15"/>
                    <a:pt x="0" y="9"/>
                  </a:cubicBezTo>
                  <a:cubicBezTo>
                    <a:pt x="0" y="2"/>
                    <a:pt x="5" y="0"/>
                    <a:pt x="10" y="3"/>
                  </a:cubicBezTo>
                  <a:lnTo>
                    <a:pt x="279" y="158"/>
                  </a:lnTo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23"/>
            <p:cNvSpPr>
              <a:spLocks/>
            </p:cNvSpPr>
            <p:nvPr/>
          </p:nvSpPr>
          <p:spPr bwMode="auto">
            <a:xfrm>
              <a:off x="4386" y="3023"/>
              <a:ext cx="139" cy="88"/>
            </a:xfrm>
            <a:custGeom>
              <a:avLst/>
              <a:gdLst>
                <a:gd name="T0" fmla="*/ 279 w 289"/>
                <a:gd name="T1" fmla="*/ 158 h 184"/>
                <a:gd name="T2" fmla="*/ 289 w 289"/>
                <a:gd name="T3" fmla="*/ 176 h 184"/>
                <a:gd name="T4" fmla="*/ 279 w 289"/>
                <a:gd name="T5" fmla="*/ 181 h 184"/>
                <a:gd name="T6" fmla="*/ 11 w 289"/>
                <a:gd name="T7" fmla="*/ 26 h 184"/>
                <a:gd name="T8" fmla="*/ 1 w 289"/>
                <a:gd name="T9" fmla="*/ 9 h 184"/>
                <a:gd name="T10" fmla="*/ 11 w 289"/>
                <a:gd name="T11" fmla="*/ 3 h 184"/>
                <a:gd name="T12" fmla="*/ 279 w 289"/>
                <a:gd name="T13" fmla="*/ 15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184">
                  <a:moveTo>
                    <a:pt x="279" y="158"/>
                  </a:moveTo>
                  <a:cubicBezTo>
                    <a:pt x="285" y="162"/>
                    <a:pt x="289" y="169"/>
                    <a:pt x="289" y="176"/>
                  </a:cubicBezTo>
                  <a:cubicBezTo>
                    <a:pt x="289" y="182"/>
                    <a:pt x="285" y="184"/>
                    <a:pt x="279" y="181"/>
                  </a:cubicBezTo>
                  <a:lnTo>
                    <a:pt x="11" y="26"/>
                  </a:lnTo>
                  <a:cubicBezTo>
                    <a:pt x="5" y="23"/>
                    <a:pt x="0" y="15"/>
                    <a:pt x="1" y="9"/>
                  </a:cubicBezTo>
                  <a:cubicBezTo>
                    <a:pt x="1" y="3"/>
                    <a:pt x="5" y="0"/>
                    <a:pt x="11" y="3"/>
                  </a:cubicBezTo>
                  <a:lnTo>
                    <a:pt x="279" y="158"/>
                  </a:lnTo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24"/>
            <p:cNvSpPr>
              <a:spLocks/>
            </p:cNvSpPr>
            <p:nvPr/>
          </p:nvSpPr>
          <p:spPr bwMode="auto">
            <a:xfrm>
              <a:off x="4590" y="3031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6 h 243"/>
                <a:gd name="T8" fmla="*/ 389 w 389"/>
                <a:gd name="T9" fmla="*/ 9 h 243"/>
                <a:gd name="T10" fmla="*/ 379 w 389"/>
                <a:gd name="T11" fmla="*/ 3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7"/>
                    <a:pt x="0" y="234"/>
                  </a:cubicBezTo>
                  <a:cubicBezTo>
                    <a:pt x="0" y="240"/>
                    <a:pt x="4" y="243"/>
                    <a:pt x="10" y="240"/>
                  </a:cubicBezTo>
                  <a:lnTo>
                    <a:pt x="379" y="26"/>
                  </a:lnTo>
                  <a:cubicBezTo>
                    <a:pt x="384" y="23"/>
                    <a:pt x="389" y="15"/>
                    <a:pt x="389" y="9"/>
                  </a:cubicBezTo>
                  <a:cubicBezTo>
                    <a:pt x="389" y="2"/>
                    <a:pt x="384" y="0"/>
                    <a:pt x="379" y="3"/>
                  </a:cubicBezTo>
                  <a:lnTo>
                    <a:pt x="10" y="217"/>
                  </a:lnTo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25"/>
            <p:cNvSpPr>
              <a:spLocks/>
            </p:cNvSpPr>
            <p:nvPr/>
          </p:nvSpPr>
          <p:spPr bwMode="auto">
            <a:xfrm>
              <a:off x="4590" y="3013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6 h 243"/>
                <a:gd name="T8" fmla="*/ 389 w 389"/>
                <a:gd name="T9" fmla="*/ 9 h 243"/>
                <a:gd name="T10" fmla="*/ 379 w 389"/>
                <a:gd name="T11" fmla="*/ 3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8"/>
                    <a:pt x="0" y="234"/>
                  </a:cubicBezTo>
                  <a:cubicBezTo>
                    <a:pt x="0" y="241"/>
                    <a:pt x="4" y="243"/>
                    <a:pt x="10" y="240"/>
                  </a:cubicBezTo>
                  <a:lnTo>
                    <a:pt x="379" y="26"/>
                  </a:lnTo>
                  <a:cubicBezTo>
                    <a:pt x="384" y="23"/>
                    <a:pt x="389" y="15"/>
                    <a:pt x="389" y="9"/>
                  </a:cubicBezTo>
                  <a:cubicBezTo>
                    <a:pt x="389" y="3"/>
                    <a:pt x="384" y="0"/>
                    <a:pt x="379" y="3"/>
                  </a:cubicBezTo>
                  <a:lnTo>
                    <a:pt x="10" y="217"/>
                  </a:lnTo>
                  <a:close/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26"/>
            <p:cNvSpPr>
              <a:spLocks/>
            </p:cNvSpPr>
            <p:nvPr/>
          </p:nvSpPr>
          <p:spPr bwMode="auto">
            <a:xfrm>
              <a:off x="4590" y="3049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7 h 243"/>
                <a:gd name="T8" fmla="*/ 389 w 389"/>
                <a:gd name="T9" fmla="*/ 9 h 243"/>
                <a:gd name="T10" fmla="*/ 379 w 389"/>
                <a:gd name="T11" fmla="*/ 4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8"/>
                    <a:pt x="0" y="234"/>
                  </a:cubicBezTo>
                  <a:cubicBezTo>
                    <a:pt x="0" y="241"/>
                    <a:pt x="4" y="243"/>
                    <a:pt x="10" y="240"/>
                  </a:cubicBezTo>
                  <a:lnTo>
                    <a:pt x="379" y="27"/>
                  </a:lnTo>
                  <a:cubicBezTo>
                    <a:pt x="384" y="23"/>
                    <a:pt x="389" y="16"/>
                    <a:pt x="389" y="9"/>
                  </a:cubicBezTo>
                  <a:cubicBezTo>
                    <a:pt x="389" y="3"/>
                    <a:pt x="384" y="0"/>
                    <a:pt x="379" y="4"/>
                  </a:cubicBezTo>
                  <a:lnTo>
                    <a:pt x="10" y="217"/>
                  </a:lnTo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27"/>
            <p:cNvSpPr>
              <a:spLocks/>
            </p:cNvSpPr>
            <p:nvPr/>
          </p:nvSpPr>
          <p:spPr bwMode="auto">
            <a:xfrm>
              <a:off x="4590" y="2995"/>
              <a:ext cx="186" cy="116"/>
            </a:xfrm>
            <a:custGeom>
              <a:avLst/>
              <a:gdLst>
                <a:gd name="T0" fmla="*/ 10 w 389"/>
                <a:gd name="T1" fmla="*/ 216 h 242"/>
                <a:gd name="T2" fmla="*/ 0 w 389"/>
                <a:gd name="T3" fmla="*/ 234 h 242"/>
                <a:gd name="T4" fmla="*/ 10 w 389"/>
                <a:gd name="T5" fmla="*/ 239 h 242"/>
                <a:gd name="T6" fmla="*/ 379 w 389"/>
                <a:gd name="T7" fmla="*/ 26 h 242"/>
                <a:gd name="T8" fmla="*/ 389 w 389"/>
                <a:gd name="T9" fmla="*/ 8 h 242"/>
                <a:gd name="T10" fmla="*/ 379 w 389"/>
                <a:gd name="T11" fmla="*/ 3 h 242"/>
                <a:gd name="T12" fmla="*/ 10 w 389"/>
                <a:gd name="T13" fmla="*/ 216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2">
                  <a:moveTo>
                    <a:pt x="10" y="216"/>
                  </a:moveTo>
                  <a:cubicBezTo>
                    <a:pt x="4" y="220"/>
                    <a:pt x="0" y="227"/>
                    <a:pt x="0" y="234"/>
                  </a:cubicBezTo>
                  <a:cubicBezTo>
                    <a:pt x="0" y="240"/>
                    <a:pt x="4" y="242"/>
                    <a:pt x="10" y="239"/>
                  </a:cubicBezTo>
                  <a:lnTo>
                    <a:pt x="379" y="26"/>
                  </a:lnTo>
                  <a:cubicBezTo>
                    <a:pt x="384" y="22"/>
                    <a:pt x="389" y="15"/>
                    <a:pt x="389" y="8"/>
                  </a:cubicBezTo>
                  <a:cubicBezTo>
                    <a:pt x="389" y="2"/>
                    <a:pt x="384" y="0"/>
                    <a:pt x="379" y="3"/>
                  </a:cubicBezTo>
                  <a:lnTo>
                    <a:pt x="10" y="216"/>
                  </a:lnTo>
                  <a:close/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28"/>
            <p:cNvSpPr>
              <a:spLocks/>
            </p:cNvSpPr>
            <p:nvPr/>
          </p:nvSpPr>
          <p:spPr bwMode="auto">
            <a:xfrm>
              <a:off x="4796" y="2912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7 h 243"/>
                <a:gd name="T8" fmla="*/ 389 w 389"/>
                <a:gd name="T9" fmla="*/ 9 h 243"/>
                <a:gd name="T10" fmla="*/ 379 w 389"/>
                <a:gd name="T11" fmla="*/ 4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8"/>
                    <a:pt x="0" y="234"/>
                  </a:cubicBezTo>
                  <a:cubicBezTo>
                    <a:pt x="0" y="241"/>
                    <a:pt x="4" y="243"/>
                    <a:pt x="10" y="240"/>
                  </a:cubicBezTo>
                  <a:lnTo>
                    <a:pt x="379" y="27"/>
                  </a:lnTo>
                  <a:cubicBezTo>
                    <a:pt x="385" y="23"/>
                    <a:pt x="389" y="16"/>
                    <a:pt x="389" y="9"/>
                  </a:cubicBezTo>
                  <a:cubicBezTo>
                    <a:pt x="389" y="3"/>
                    <a:pt x="384" y="0"/>
                    <a:pt x="379" y="4"/>
                  </a:cubicBezTo>
                  <a:lnTo>
                    <a:pt x="10" y="217"/>
                  </a:lnTo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29"/>
            <p:cNvSpPr>
              <a:spLocks/>
            </p:cNvSpPr>
            <p:nvPr/>
          </p:nvSpPr>
          <p:spPr bwMode="auto">
            <a:xfrm>
              <a:off x="4796" y="2894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6 h 243"/>
                <a:gd name="T8" fmla="*/ 389 w 389"/>
                <a:gd name="T9" fmla="*/ 9 h 243"/>
                <a:gd name="T10" fmla="*/ 379 w 389"/>
                <a:gd name="T11" fmla="*/ 3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8"/>
                    <a:pt x="0" y="234"/>
                  </a:cubicBezTo>
                  <a:cubicBezTo>
                    <a:pt x="0" y="240"/>
                    <a:pt x="4" y="243"/>
                    <a:pt x="10" y="240"/>
                  </a:cubicBezTo>
                  <a:lnTo>
                    <a:pt x="379" y="26"/>
                  </a:lnTo>
                  <a:cubicBezTo>
                    <a:pt x="384" y="23"/>
                    <a:pt x="389" y="15"/>
                    <a:pt x="389" y="9"/>
                  </a:cubicBezTo>
                  <a:cubicBezTo>
                    <a:pt x="389" y="2"/>
                    <a:pt x="384" y="0"/>
                    <a:pt x="379" y="3"/>
                  </a:cubicBezTo>
                  <a:lnTo>
                    <a:pt x="10" y="217"/>
                  </a:lnTo>
                  <a:close/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30"/>
            <p:cNvSpPr>
              <a:spLocks/>
            </p:cNvSpPr>
            <p:nvPr/>
          </p:nvSpPr>
          <p:spPr bwMode="auto">
            <a:xfrm>
              <a:off x="4796" y="2930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6 h 243"/>
                <a:gd name="T8" fmla="*/ 389 w 389"/>
                <a:gd name="T9" fmla="*/ 9 h 243"/>
                <a:gd name="T10" fmla="*/ 379 w 389"/>
                <a:gd name="T11" fmla="*/ 3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5" y="220"/>
                    <a:pt x="0" y="228"/>
                    <a:pt x="0" y="234"/>
                  </a:cubicBezTo>
                  <a:cubicBezTo>
                    <a:pt x="0" y="240"/>
                    <a:pt x="5" y="243"/>
                    <a:pt x="10" y="240"/>
                  </a:cubicBezTo>
                  <a:lnTo>
                    <a:pt x="379" y="26"/>
                  </a:lnTo>
                  <a:cubicBezTo>
                    <a:pt x="385" y="23"/>
                    <a:pt x="389" y="15"/>
                    <a:pt x="389" y="9"/>
                  </a:cubicBezTo>
                  <a:cubicBezTo>
                    <a:pt x="389" y="3"/>
                    <a:pt x="385" y="0"/>
                    <a:pt x="379" y="3"/>
                  </a:cubicBezTo>
                  <a:lnTo>
                    <a:pt x="10" y="217"/>
                  </a:lnTo>
                  <a:close/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31"/>
            <p:cNvSpPr>
              <a:spLocks/>
            </p:cNvSpPr>
            <p:nvPr/>
          </p:nvSpPr>
          <p:spPr bwMode="auto">
            <a:xfrm>
              <a:off x="4796" y="2876"/>
              <a:ext cx="186" cy="117"/>
            </a:xfrm>
            <a:custGeom>
              <a:avLst/>
              <a:gdLst>
                <a:gd name="T0" fmla="*/ 10 w 389"/>
                <a:gd name="T1" fmla="*/ 217 h 243"/>
                <a:gd name="T2" fmla="*/ 0 w 389"/>
                <a:gd name="T3" fmla="*/ 234 h 243"/>
                <a:gd name="T4" fmla="*/ 10 w 389"/>
                <a:gd name="T5" fmla="*/ 240 h 243"/>
                <a:gd name="T6" fmla="*/ 379 w 389"/>
                <a:gd name="T7" fmla="*/ 26 h 243"/>
                <a:gd name="T8" fmla="*/ 389 w 389"/>
                <a:gd name="T9" fmla="*/ 9 h 243"/>
                <a:gd name="T10" fmla="*/ 379 w 389"/>
                <a:gd name="T11" fmla="*/ 3 h 243"/>
                <a:gd name="T12" fmla="*/ 10 w 389"/>
                <a:gd name="T13" fmla="*/ 2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243">
                  <a:moveTo>
                    <a:pt x="10" y="217"/>
                  </a:moveTo>
                  <a:cubicBezTo>
                    <a:pt x="4" y="220"/>
                    <a:pt x="0" y="228"/>
                    <a:pt x="0" y="234"/>
                  </a:cubicBezTo>
                  <a:cubicBezTo>
                    <a:pt x="0" y="241"/>
                    <a:pt x="4" y="243"/>
                    <a:pt x="10" y="240"/>
                  </a:cubicBezTo>
                  <a:lnTo>
                    <a:pt x="379" y="26"/>
                  </a:lnTo>
                  <a:cubicBezTo>
                    <a:pt x="384" y="23"/>
                    <a:pt x="389" y="15"/>
                    <a:pt x="389" y="9"/>
                  </a:cubicBezTo>
                  <a:cubicBezTo>
                    <a:pt x="389" y="3"/>
                    <a:pt x="384" y="0"/>
                    <a:pt x="379" y="3"/>
                  </a:cubicBezTo>
                  <a:lnTo>
                    <a:pt x="10" y="217"/>
                  </a:lnTo>
                  <a:close/>
                </a:path>
              </a:pathLst>
            </a:custGeom>
            <a:solidFill>
              <a:srgbClr val="0406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32"/>
            <p:cNvSpPr>
              <a:spLocks/>
            </p:cNvSpPr>
            <p:nvPr/>
          </p:nvSpPr>
          <p:spPr bwMode="auto">
            <a:xfrm>
              <a:off x="3124" y="3377"/>
              <a:ext cx="237" cy="131"/>
            </a:xfrm>
            <a:custGeom>
              <a:avLst/>
              <a:gdLst>
                <a:gd name="T0" fmla="*/ 175 w 493"/>
                <a:gd name="T1" fmla="*/ 0 h 274"/>
                <a:gd name="T2" fmla="*/ 417 w 493"/>
                <a:gd name="T3" fmla="*/ 138 h 274"/>
                <a:gd name="T4" fmla="*/ 484 w 493"/>
                <a:gd name="T5" fmla="*/ 178 h 274"/>
                <a:gd name="T6" fmla="*/ 456 w 493"/>
                <a:gd name="T7" fmla="*/ 243 h 274"/>
                <a:gd name="T8" fmla="*/ 340 w 493"/>
                <a:gd name="T9" fmla="*/ 270 h 274"/>
                <a:gd name="T10" fmla="*/ 223 w 493"/>
                <a:gd name="T11" fmla="*/ 237 h 274"/>
                <a:gd name="T12" fmla="*/ 105 w 493"/>
                <a:gd name="T13" fmla="*/ 207 h 274"/>
                <a:gd name="T14" fmla="*/ 48 w 493"/>
                <a:gd name="T15" fmla="*/ 203 h 274"/>
                <a:gd name="T16" fmla="*/ 0 w 493"/>
                <a:gd name="T17" fmla="*/ 175 h 274"/>
                <a:gd name="T18" fmla="*/ 30 w 493"/>
                <a:gd name="T19" fmla="*/ 16 h 274"/>
                <a:gd name="T20" fmla="*/ 175 w 493"/>
                <a:gd name="T21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3" h="274">
                  <a:moveTo>
                    <a:pt x="175" y="0"/>
                  </a:moveTo>
                  <a:cubicBezTo>
                    <a:pt x="242" y="66"/>
                    <a:pt x="326" y="114"/>
                    <a:pt x="417" y="138"/>
                  </a:cubicBezTo>
                  <a:cubicBezTo>
                    <a:pt x="443" y="144"/>
                    <a:pt x="474" y="152"/>
                    <a:pt x="484" y="178"/>
                  </a:cubicBezTo>
                  <a:cubicBezTo>
                    <a:pt x="493" y="201"/>
                    <a:pt x="477" y="228"/>
                    <a:pt x="456" y="243"/>
                  </a:cubicBezTo>
                  <a:cubicBezTo>
                    <a:pt x="424" y="268"/>
                    <a:pt x="381" y="274"/>
                    <a:pt x="340" y="270"/>
                  </a:cubicBezTo>
                  <a:cubicBezTo>
                    <a:pt x="300" y="265"/>
                    <a:pt x="261" y="251"/>
                    <a:pt x="223" y="237"/>
                  </a:cubicBezTo>
                  <a:cubicBezTo>
                    <a:pt x="185" y="223"/>
                    <a:pt x="146" y="209"/>
                    <a:pt x="105" y="207"/>
                  </a:cubicBezTo>
                  <a:cubicBezTo>
                    <a:pt x="86" y="206"/>
                    <a:pt x="67" y="207"/>
                    <a:pt x="48" y="203"/>
                  </a:cubicBezTo>
                  <a:cubicBezTo>
                    <a:pt x="29" y="200"/>
                    <a:pt x="10" y="191"/>
                    <a:pt x="0" y="175"/>
                  </a:cubicBezTo>
                  <a:cubicBezTo>
                    <a:pt x="0" y="58"/>
                    <a:pt x="30" y="16"/>
                    <a:pt x="30" y="16"/>
                  </a:cubicBezTo>
                  <a:lnTo>
                    <a:pt x="175" y="0"/>
                  </a:lnTo>
                  <a:close/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33"/>
            <p:cNvSpPr>
              <a:spLocks/>
            </p:cNvSpPr>
            <p:nvPr/>
          </p:nvSpPr>
          <p:spPr bwMode="auto">
            <a:xfrm>
              <a:off x="3137" y="3352"/>
              <a:ext cx="73" cy="66"/>
            </a:xfrm>
            <a:custGeom>
              <a:avLst/>
              <a:gdLst>
                <a:gd name="T0" fmla="*/ 151 w 151"/>
                <a:gd name="T1" fmla="*/ 0 h 138"/>
                <a:gd name="T2" fmla="*/ 151 w 151"/>
                <a:gd name="T3" fmla="*/ 80 h 138"/>
                <a:gd name="T4" fmla="*/ 3 w 151"/>
                <a:gd name="T5" fmla="*/ 68 h 138"/>
                <a:gd name="T6" fmla="*/ 0 w 151"/>
                <a:gd name="T7" fmla="*/ 0 h 138"/>
                <a:gd name="T8" fmla="*/ 151 w 151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38">
                  <a:moveTo>
                    <a:pt x="151" y="0"/>
                  </a:moveTo>
                  <a:lnTo>
                    <a:pt x="151" y="80"/>
                  </a:lnTo>
                  <a:cubicBezTo>
                    <a:pt x="98" y="138"/>
                    <a:pt x="13" y="99"/>
                    <a:pt x="3" y="68"/>
                  </a:cubicBezTo>
                  <a:lnTo>
                    <a:pt x="0" y="0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953C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34"/>
            <p:cNvSpPr>
              <a:spLocks/>
            </p:cNvSpPr>
            <p:nvPr/>
          </p:nvSpPr>
          <p:spPr bwMode="auto">
            <a:xfrm>
              <a:off x="2963" y="3174"/>
              <a:ext cx="168" cy="161"/>
            </a:xfrm>
            <a:custGeom>
              <a:avLst/>
              <a:gdLst>
                <a:gd name="T0" fmla="*/ 115 w 349"/>
                <a:gd name="T1" fmla="*/ 86 h 335"/>
                <a:gd name="T2" fmla="*/ 285 w 349"/>
                <a:gd name="T3" fmla="*/ 21 h 335"/>
                <a:gd name="T4" fmla="*/ 244 w 349"/>
                <a:gd name="T5" fmla="*/ 185 h 335"/>
                <a:gd name="T6" fmla="*/ 73 w 349"/>
                <a:gd name="T7" fmla="*/ 335 h 335"/>
                <a:gd name="T8" fmla="*/ 14 w 349"/>
                <a:gd name="T9" fmla="*/ 262 h 335"/>
                <a:gd name="T10" fmla="*/ 25 w 349"/>
                <a:gd name="T11" fmla="*/ 187 h 335"/>
                <a:gd name="T12" fmla="*/ 115 w 349"/>
                <a:gd name="T13" fmla="*/ 8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335">
                  <a:moveTo>
                    <a:pt x="115" y="86"/>
                  </a:moveTo>
                  <a:cubicBezTo>
                    <a:pt x="209" y="0"/>
                    <a:pt x="262" y="4"/>
                    <a:pt x="285" y="21"/>
                  </a:cubicBezTo>
                  <a:cubicBezTo>
                    <a:pt x="308" y="38"/>
                    <a:pt x="349" y="93"/>
                    <a:pt x="244" y="185"/>
                  </a:cubicBezTo>
                  <a:cubicBezTo>
                    <a:pt x="139" y="278"/>
                    <a:pt x="147" y="335"/>
                    <a:pt x="73" y="335"/>
                  </a:cubicBezTo>
                  <a:cubicBezTo>
                    <a:pt x="0" y="335"/>
                    <a:pt x="14" y="262"/>
                    <a:pt x="14" y="262"/>
                  </a:cubicBezTo>
                  <a:cubicBezTo>
                    <a:pt x="14" y="227"/>
                    <a:pt x="25" y="187"/>
                    <a:pt x="25" y="187"/>
                  </a:cubicBezTo>
                  <a:lnTo>
                    <a:pt x="115" y="86"/>
                  </a:lnTo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35"/>
            <p:cNvSpPr>
              <a:spLocks/>
            </p:cNvSpPr>
            <p:nvPr/>
          </p:nvSpPr>
          <p:spPr bwMode="auto">
            <a:xfrm>
              <a:off x="2975" y="3238"/>
              <a:ext cx="60" cy="49"/>
            </a:xfrm>
            <a:custGeom>
              <a:avLst/>
              <a:gdLst>
                <a:gd name="T0" fmla="*/ 124 w 124"/>
                <a:gd name="T1" fmla="*/ 9 h 103"/>
                <a:gd name="T2" fmla="*/ 124 w 124"/>
                <a:gd name="T3" fmla="*/ 65 h 103"/>
                <a:gd name="T4" fmla="*/ 0 w 124"/>
                <a:gd name="T5" fmla="*/ 55 h 103"/>
                <a:gd name="T6" fmla="*/ 4 w 124"/>
                <a:gd name="T7" fmla="*/ 0 h 103"/>
                <a:gd name="T8" fmla="*/ 124 w 124"/>
                <a:gd name="T9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03">
                  <a:moveTo>
                    <a:pt x="124" y="9"/>
                  </a:moveTo>
                  <a:lnTo>
                    <a:pt x="124" y="65"/>
                  </a:lnTo>
                  <a:cubicBezTo>
                    <a:pt x="79" y="103"/>
                    <a:pt x="4" y="81"/>
                    <a:pt x="0" y="55"/>
                  </a:cubicBezTo>
                  <a:lnTo>
                    <a:pt x="4" y="0"/>
                  </a:lnTo>
                  <a:lnTo>
                    <a:pt x="124" y="9"/>
                  </a:lnTo>
                  <a:close/>
                </a:path>
              </a:pathLst>
            </a:custGeom>
            <a:solidFill>
              <a:srgbClr val="953C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36"/>
            <p:cNvSpPr>
              <a:spLocks/>
            </p:cNvSpPr>
            <p:nvPr/>
          </p:nvSpPr>
          <p:spPr bwMode="auto">
            <a:xfrm>
              <a:off x="2914" y="2484"/>
              <a:ext cx="349" cy="886"/>
            </a:xfrm>
            <a:custGeom>
              <a:avLst/>
              <a:gdLst>
                <a:gd name="T0" fmla="*/ 685 w 727"/>
                <a:gd name="T1" fmla="*/ 21 h 1845"/>
                <a:gd name="T2" fmla="*/ 727 w 727"/>
                <a:gd name="T3" fmla="*/ 995 h 1845"/>
                <a:gd name="T4" fmla="*/ 615 w 727"/>
                <a:gd name="T5" fmla="*/ 1807 h 1845"/>
                <a:gd name="T6" fmla="*/ 464 w 727"/>
                <a:gd name="T7" fmla="*/ 1807 h 1845"/>
                <a:gd name="T8" fmla="*/ 441 w 727"/>
                <a:gd name="T9" fmla="*/ 1013 h 1845"/>
                <a:gd name="T10" fmla="*/ 358 w 727"/>
                <a:gd name="T11" fmla="*/ 489 h 1845"/>
                <a:gd name="T12" fmla="*/ 331 w 727"/>
                <a:gd name="T13" fmla="*/ 910 h 1845"/>
                <a:gd name="T14" fmla="*/ 251 w 727"/>
                <a:gd name="T15" fmla="*/ 1578 h 1845"/>
                <a:gd name="T16" fmla="*/ 131 w 727"/>
                <a:gd name="T17" fmla="*/ 1569 h 1845"/>
                <a:gd name="T18" fmla="*/ 91 w 727"/>
                <a:gd name="T19" fmla="*/ 829 h 1845"/>
                <a:gd name="T20" fmla="*/ 62 w 727"/>
                <a:gd name="T21" fmla="*/ 0 h 1845"/>
                <a:gd name="T22" fmla="*/ 685 w 727"/>
                <a:gd name="T23" fmla="*/ 21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7" h="1845">
                  <a:moveTo>
                    <a:pt x="685" y="21"/>
                  </a:moveTo>
                  <a:lnTo>
                    <a:pt x="727" y="995"/>
                  </a:lnTo>
                  <a:lnTo>
                    <a:pt x="615" y="1807"/>
                  </a:lnTo>
                  <a:cubicBezTo>
                    <a:pt x="556" y="1845"/>
                    <a:pt x="464" y="1807"/>
                    <a:pt x="464" y="1807"/>
                  </a:cubicBezTo>
                  <a:cubicBezTo>
                    <a:pt x="452" y="1557"/>
                    <a:pt x="397" y="1203"/>
                    <a:pt x="441" y="1013"/>
                  </a:cubicBezTo>
                  <a:lnTo>
                    <a:pt x="358" y="489"/>
                  </a:lnTo>
                  <a:lnTo>
                    <a:pt x="331" y="910"/>
                  </a:lnTo>
                  <a:cubicBezTo>
                    <a:pt x="326" y="1157"/>
                    <a:pt x="262" y="1420"/>
                    <a:pt x="251" y="1578"/>
                  </a:cubicBezTo>
                  <a:cubicBezTo>
                    <a:pt x="185" y="1604"/>
                    <a:pt x="131" y="1569"/>
                    <a:pt x="131" y="1569"/>
                  </a:cubicBezTo>
                  <a:cubicBezTo>
                    <a:pt x="94" y="1240"/>
                    <a:pt x="21" y="1063"/>
                    <a:pt x="91" y="829"/>
                  </a:cubicBezTo>
                  <a:cubicBezTo>
                    <a:pt x="42" y="386"/>
                    <a:pt x="0" y="112"/>
                    <a:pt x="62" y="0"/>
                  </a:cubicBezTo>
                  <a:lnTo>
                    <a:pt x="685" y="21"/>
                  </a:lnTo>
                  <a:close/>
                </a:path>
              </a:pathLst>
            </a:custGeom>
            <a:solidFill>
              <a:srgbClr val="3353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237"/>
            <p:cNvSpPr>
              <a:spLocks/>
            </p:cNvSpPr>
            <p:nvPr/>
          </p:nvSpPr>
          <p:spPr bwMode="auto">
            <a:xfrm>
              <a:off x="3082" y="2719"/>
              <a:ext cx="4" cy="64"/>
            </a:xfrm>
            <a:custGeom>
              <a:avLst/>
              <a:gdLst>
                <a:gd name="T0" fmla="*/ 0 w 4"/>
                <a:gd name="T1" fmla="*/ 64 h 64"/>
                <a:gd name="T2" fmla="*/ 0 w 4"/>
                <a:gd name="T3" fmla="*/ 64 h 64"/>
                <a:gd name="T4" fmla="*/ 4 w 4"/>
                <a:gd name="T5" fmla="*/ 0 h 64"/>
                <a:gd name="T6" fmla="*/ 0 w 4"/>
                <a:gd name="T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4">
                  <a:moveTo>
                    <a:pt x="0" y="64"/>
                  </a:moveTo>
                  <a:lnTo>
                    <a:pt x="0" y="64"/>
                  </a:lnTo>
                  <a:lnTo>
                    <a:pt x="4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B6B8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38"/>
            <p:cNvSpPr>
              <a:spLocks/>
            </p:cNvSpPr>
            <p:nvPr/>
          </p:nvSpPr>
          <p:spPr bwMode="auto">
            <a:xfrm>
              <a:off x="3002" y="2641"/>
              <a:ext cx="84" cy="142"/>
            </a:xfrm>
            <a:custGeom>
              <a:avLst/>
              <a:gdLst>
                <a:gd name="T0" fmla="*/ 168 w 176"/>
                <a:gd name="T1" fmla="*/ 295 h 295"/>
                <a:gd name="T2" fmla="*/ 136 w 176"/>
                <a:gd name="T3" fmla="*/ 87 h 295"/>
                <a:gd name="T4" fmla="*/ 0 w 176"/>
                <a:gd name="T5" fmla="*/ 0 h 295"/>
                <a:gd name="T6" fmla="*/ 161 w 176"/>
                <a:gd name="T7" fmla="*/ 63 h 295"/>
                <a:gd name="T8" fmla="*/ 176 w 176"/>
                <a:gd name="T9" fmla="*/ 162 h 295"/>
                <a:gd name="T10" fmla="*/ 168 w 176"/>
                <a:gd name="T11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6" h="295">
                  <a:moveTo>
                    <a:pt x="168" y="295"/>
                  </a:moveTo>
                  <a:lnTo>
                    <a:pt x="136" y="87"/>
                  </a:lnTo>
                  <a:cubicBezTo>
                    <a:pt x="41" y="74"/>
                    <a:pt x="0" y="0"/>
                    <a:pt x="0" y="0"/>
                  </a:cubicBezTo>
                  <a:cubicBezTo>
                    <a:pt x="75" y="55"/>
                    <a:pt x="161" y="63"/>
                    <a:pt x="161" y="63"/>
                  </a:cubicBezTo>
                  <a:lnTo>
                    <a:pt x="176" y="162"/>
                  </a:lnTo>
                  <a:lnTo>
                    <a:pt x="168" y="295"/>
                  </a:lnTo>
                  <a:close/>
                </a:path>
              </a:pathLst>
            </a:custGeom>
            <a:solidFill>
              <a:srgbClr val="263F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239"/>
            <p:cNvSpPr>
              <a:spLocks/>
            </p:cNvSpPr>
            <p:nvPr/>
          </p:nvSpPr>
          <p:spPr bwMode="auto">
            <a:xfrm>
              <a:off x="2922" y="2032"/>
              <a:ext cx="325" cy="638"/>
            </a:xfrm>
            <a:custGeom>
              <a:avLst/>
              <a:gdLst>
                <a:gd name="T0" fmla="*/ 479 w 676"/>
                <a:gd name="T1" fmla="*/ 50 h 1328"/>
                <a:gd name="T2" fmla="*/ 192 w 676"/>
                <a:gd name="T3" fmla="*/ 12 h 1328"/>
                <a:gd name="T4" fmla="*/ 22 w 676"/>
                <a:gd name="T5" fmla="*/ 254 h 1328"/>
                <a:gd name="T6" fmla="*/ 95 w 676"/>
                <a:gd name="T7" fmla="*/ 787 h 1328"/>
                <a:gd name="T8" fmla="*/ 0 w 676"/>
                <a:gd name="T9" fmla="*/ 1140 h 1328"/>
                <a:gd name="T10" fmla="*/ 676 w 676"/>
                <a:gd name="T11" fmla="*/ 1135 h 1328"/>
                <a:gd name="T12" fmla="*/ 653 w 676"/>
                <a:gd name="T13" fmla="*/ 383 h 1328"/>
                <a:gd name="T14" fmla="*/ 479 w 676"/>
                <a:gd name="T15" fmla="*/ 50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6" h="1328">
                  <a:moveTo>
                    <a:pt x="479" y="50"/>
                  </a:moveTo>
                  <a:lnTo>
                    <a:pt x="192" y="12"/>
                  </a:lnTo>
                  <a:cubicBezTo>
                    <a:pt x="72" y="0"/>
                    <a:pt x="20" y="132"/>
                    <a:pt x="22" y="254"/>
                  </a:cubicBezTo>
                  <a:cubicBezTo>
                    <a:pt x="23" y="326"/>
                    <a:pt x="72" y="599"/>
                    <a:pt x="95" y="787"/>
                  </a:cubicBezTo>
                  <a:cubicBezTo>
                    <a:pt x="48" y="901"/>
                    <a:pt x="0" y="1048"/>
                    <a:pt x="0" y="1140"/>
                  </a:cubicBezTo>
                  <a:cubicBezTo>
                    <a:pt x="219" y="1328"/>
                    <a:pt x="627" y="1192"/>
                    <a:pt x="676" y="1135"/>
                  </a:cubicBezTo>
                  <a:cubicBezTo>
                    <a:pt x="676" y="836"/>
                    <a:pt x="653" y="383"/>
                    <a:pt x="653" y="383"/>
                  </a:cubicBezTo>
                  <a:lnTo>
                    <a:pt x="479" y="50"/>
                  </a:lnTo>
                </a:path>
              </a:pathLst>
            </a:custGeom>
            <a:solidFill>
              <a:srgbClr val="F3F2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40"/>
            <p:cNvSpPr>
              <a:spLocks/>
            </p:cNvSpPr>
            <p:nvPr/>
          </p:nvSpPr>
          <p:spPr bwMode="auto">
            <a:xfrm>
              <a:off x="3224" y="1890"/>
              <a:ext cx="24" cy="46"/>
            </a:xfrm>
            <a:custGeom>
              <a:avLst/>
              <a:gdLst>
                <a:gd name="T0" fmla="*/ 4 w 49"/>
                <a:gd name="T1" fmla="*/ 0 h 96"/>
                <a:gd name="T2" fmla="*/ 49 w 49"/>
                <a:gd name="T3" fmla="*/ 78 h 96"/>
                <a:gd name="T4" fmla="*/ 0 w 49"/>
                <a:gd name="T5" fmla="*/ 96 h 96"/>
                <a:gd name="T6" fmla="*/ 4 w 49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96">
                  <a:moveTo>
                    <a:pt x="4" y="0"/>
                  </a:moveTo>
                  <a:lnTo>
                    <a:pt x="49" y="78"/>
                  </a:lnTo>
                  <a:lnTo>
                    <a:pt x="0" y="9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16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41"/>
            <p:cNvSpPr>
              <a:spLocks/>
            </p:cNvSpPr>
            <p:nvPr/>
          </p:nvSpPr>
          <p:spPr bwMode="auto">
            <a:xfrm>
              <a:off x="3032" y="1793"/>
              <a:ext cx="201" cy="290"/>
            </a:xfrm>
            <a:custGeom>
              <a:avLst/>
              <a:gdLst>
                <a:gd name="T0" fmla="*/ 408 w 417"/>
                <a:gd name="T1" fmla="*/ 166 h 603"/>
                <a:gd name="T2" fmla="*/ 337 w 417"/>
                <a:gd name="T3" fmla="*/ 0 h 603"/>
                <a:gd name="T4" fmla="*/ 285 w 417"/>
                <a:gd name="T5" fmla="*/ 245 h 603"/>
                <a:gd name="T6" fmla="*/ 252 w 417"/>
                <a:gd name="T7" fmla="*/ 186 h 603"/>
                <a:gd name="T8" fmla="*/ 188 w 417"/>
                <a:gd name="T9" fmla="*/ 173 h 603"/>
                <a:gd name="T10" fmla="*/ 156 w 417"/>
                <a:gd name="T11" fmla="*/ 208 h 603"/>
                <a:gd name="T12" fmla="*/ 173 w 417"/>
                <a:gd name="T13" fmla="*/ 296 h 603"/>
                <a:gd name="T14" fmla="*/ 260 w 417"/>
                <a:gd name="T15" fmla="*/ 317 h 603"/>
                <a:gd name="T16" fmla="*/ 137 w 417"/>
                <a:gd name="T17" fmla="*/ 442 h 603"/>
                <a:gd name="T18" fmla="*/ 18 w 417"/>
                <a:gd name="T19" fmla="*/ 431 h 603"/>
                <a:gd name="T20" fmla="*/ 0 w 417"/>
                <a:gd name="T21" fmla="*/ 523 h 603"/>
                <a:gd name="T22" fmla="*/ 203 w 417"/>
                <a:gd name="T23" fmla="*/ 549 h 603"/>
                <a:gd name="T24" fmla="*/ 220 w 417"/>
                <a:gd name="T25" fmla="*/ 458 h 603"/>
                <a:gd name="T26" fmla="*/ 398 w 417"/>
                <a:gd name="T27" fmla="*/ 383 h 603"/>
                <a:gd name="T28" fmla="*/ 408 w 417"/>
                <a:gd name="T29" fmla="*/ 166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7" h="603">
                  <a:moveTo>
                    <a:pt x="408" y="166"/>
                  </a:moveTo>
                  <a:cubicBezTo>
                    <a:pt x="401" y="97"/>
                    <a:pt x="381" y="33"/>
                    <a:pt x="337" y="0"/>
                  </a:cubicBezTo>
                  <a:cubicBezTo>
                    <a:pt x="352" y="90"/>
                    <a:pt x="321" y="192"/>
                    <a:pt x="285" y="245"/>
                  </a:cubicBezTo>
                  <a:cubicBezTo>
                    <a:pt x="281" y="222"/>
                    <a:pt x="269" y="202"/>
                    <a:pt x="252" y="186"/>
                  </a:cubicBezTo>
                  <a:cubicBezTo>
                    <a:pt x="235" y="171"/>
                    <a:pt x="209" y="164"/>
                    <a:pt x="188" y="173"/>
                  </a:cubicBezTo>
                  <a:cubicBezTo>
                    <a:pt x="173" y="179"/>
                    <a:pt x="162" y="193"/>
                    <a:pt x="156" y="208"/>
                  </a:cubicBezTo>
                  <a:cubicBezTo>
                    <a:pt x="144" y="237"/>
                    <a:pt x="151" y="273"/>
                    <a:pt x="173" y="296"/>
                  </a:cubicBezTo>
                  <a:cubicBezTo>
                    <a:pt x="195" y="319"/>
                    <a:pt x="230" y="328"/>
                    <a:pt x="260" y="317"/>
                  </a:cubicBezTo>
                  <a:cubicBezTo>
                    <a:pt x="250" y="379"/>
                    <a:pt x="198" y="428"/>
                    <a:pt x="137" y="442"/>
                  </a:cubicBezTo>
                  <a:cubicBezTo>
                    <a:pt x="98" y="451"/>
                    <a:pt x="56" y="445"/>
                    <a:pt x="18" y="431"/>
                  </a:cubicBezTo>
                  <a:lnTo>
                    <a:pt x="0" y="523"/>
                  </a:lnTo>
                  <a:cubicBezTo>
                    <a:pt x="75" y="603"/>
                    <a:pt x="203" y="549"/>
                    <a:pt x="203" y="549"/>
                  </a:cubicBezTo>
                  <a:lnTo>
                    <a:pt x="220" y="458"/>
                  </a:lnTo>
                  <a:cubicBezTo>
                    <a:pt x="368" y="467"/>
                    <a:pt x="382" y="465"/>
                    <a:pt x="398" y="383"/>
                  </a:cubicBezTo>
                  <a:cubicBezTo>
                    <a:pt x="407" y="338"/>
                    <a:pt x="417" y="249"/>
                    <a:pt x="408" y="166"/>
                  </a:cubicBezTo>
                </a:path>
              </a:pathLst>
            </a:custGeom>
            <a:solidFill>
              <a:srgbClr val="E7AB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42"/>
            <p:cNvSpPr>
              <a:spLocks/>
            </p:cNvSpPr>
            <p:nvPr/>
          </p:nvSpPr>
          <p:spPr bwMode="auto">
            <a:xfrm>
              <a:off x="2867" y="1721"/>
              <a:ext cx="380" cy="325"/>
            </a:xfrm>
            <a:custGeom>
              <a:avLst/>
              <a:gdLst>
                <a:gd name="T0" fmla="*/ 771 w 792"/>
                <a:gd name="T1" fmla="*/ 153 h 677"/>
                <a:gd name="T2" fmla="*/ 630 w 792"/>
                <a:gd name="T3" fmla="*/ 24 h 677"/>
                <a:gd name="T4" fmla="*/ 436 w 792"/>
                <a:gd name="T5" fmla="*/ 9 h 677"/>
                <a:gd name="T6" fmla="*/ 320 w 792"/>
                <a:gd name="T7" fmla="*/ 43 h 677"/>
                <a:gd name="T8" fmla="*/ 234 w 792"/>
                <a:gd name="T9" fmla="*/ 128 h 677"/>
                <a:gd name="T10" fmla="*/ 227 w 792"/>
                <a:gd name="T11" fmla="*/ 65 h 677"/>
                <a:gd name="T12" fmla="*/ 193 w 792"/>
                <a:gd name="T13" fmla="*/ 96 h 677"/>
                <a:gd name="T14" fmla="*/ 204 w 792"/>
                <a:gd name="T15" fmla="*/ 142 h 677"/>
                <a:gd name="T16" fmla="*/ 198 w 792"/>
                <a:gd name="T17" fmla="*/ 142 h 677"/>
                <a:gd name="T18" fmla="*/ 0 w 792"/>
                <a:gd name="T19" fmla="*/ 340 h 677"/>
                <a:gd name="T20" fmla="*/ 0 w 792"/>
                <a:gd name="T21" fmla="*/ 677 h 677"/>
                <a:gd name="T22" fmla="*/ 195 w 792"/>
                <a:gd name="T23" fmla="*/ 482 h 677"/>
                <a:gd name="T24" fmla="*/ 195 w 792"/>
                <a:gd name="T25" fmla="*/ 405 h 677"/>
                <a:gd name="T26" fmla="*/ 307 w 792"/>
                <a:gd name="T27" fmla="*/ 551 h 677"/>
                <a:gd name="T28" fmla="*/ 363 w 792"/>
                <a:gd name="T29" fmla="*/ 582 h 677"/>
                <a:gd name="T30" fmla="*/ 482 w 792"/>
                <a:gd name="T31" fmla="*/ 593 h 677"/>
                <a:gd name="T32" fmla="*/ 605 w 792"/>
                <a:gd name="T33" fmla="*/ 468 h 677"/>
                <a:gd name="T34" fmla="*/ 518 w 792"/>
                <a:gd name="T35" fmla="*/ 447 h 677"/>
                <a:gd name="T36" fmla="*/ 501 w 792"/>
                <a:gd name="T37" fmla="*/ 359 h 677"/>
                <a:gd name="T38" fmla="*/ 533 w 792"/>
                <a:gd name="T39" fmla="*/ 324 h 677"/>
                <a:gd name="T40" fmla="*/ 597 w 792"/>
                <a:gd name="T41" fmla="*/ 337 h 677"/>
                <a:gd name="T42" fmla="*/ 630 w 792"/>
                <a:gd name="T43" fmla="*/ 396 h 677"/>
                <a:gd name="T44" fmla="*/ 682 w 792"/>
                <a:gd name="T45" fmla="*/ 151 h 677"/>
                <a:gd name="T46" fmla="*/ 753 w 792"/>
                <a:gd name="T47" fmla="*/ 317 h 677"/>
                <a:gd name="T48" fmla="*/ 771 w 792"/>
                <a:gd name="T49" fmla="*/ 153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2" h="677">
                  <a:moveTo>
                    <a:pt x="771" y="153"/>
                  </a:moveTo>
                  <a:cubicBezTo>
                    <a:pt x="747" y="92"/>
                    <a:pt x="692" y="46"/>
                    <a:pt x="630" y="24"/>
                  </a:cubicBezTo>
                  <a:cubicBezTo>
                    <a:pt x="568" y="1"/>
                    <a:pt x="501" y="0"/>
                    <a:pt x="436" y="9"/>
                  </a:cubicBezTo>
                  <a:cubicBezTo>
                    <a:pt x="396" y="15"/>
                    <a:pt x="356" y="24"/>
                    <a:pt x="320" y="43"/>
                  </a:cubicBezTo>
                  <a:cubicBezTo>
                    <a:pt x="284" y="62"/>
                    <a:pt x="252" y="92"/>
                    <a:pt x="234" y="128"/>
                  </a:cubicBezTo>
                  <a:lnTo>
                    <a:pt x="227" y="65"/>
                  </a:lnTo>
                  <a:cubicBezTo>
                    <a:pt x="211" y="69"/>
                    <a:pt x="198" y="81"/>
                    <a:pt x="193" y="96"/>
                  </a:cubicBezTo>
                  <a:cubicBezTo>
                    <a:pt x="188" y="111"/>
                    <a:pt x="193" y="130"/>
                    <a:pt x="204" y="142"/>
                  </a:cubicBezTo>
                  <a:lnTo>
                    <a:pt x="198" y="142"/>
                  </a:lnTo>
                  <a:cubicBezTo>
                    <a:pt x="89" y="142"/>
                    <a:pt x="0" y="231"/>
                    <a:pt x="0" y="340"/>
                  </a:cubicBezTo>
                  <a:lnTo>
                    <a:pt x="0" y="677"/>
                  </a:lnTo>
                  <a:cubicBezTo>
                    <a:pt x="108" y="677"/>
                    <a:pt x="195" y="590"/>
                    <a:pt x="195" y="482"/>
                  </a:cubicBezTo>
                  <a:lnTo>
                    <a:pt x="195" y="405"/>
                  </a:lnTo>
                  <a:cubicBezTo>
                    <a:pt x="221" y="461"/>
                    <a:pt x="257" y="514"/>
                    <a:pt x="307" y="551"/>
                  </a:cubicBezTo>
                  <a:cubicBezTo>
                    <a:pt x="324" y="563"/>
                    <a:pt x="343" y="574"/>
                    <a:pt x="363" y="582"/>
                  </a:cubicBezTo>
                  <a:cubicBezTo>
                    <a:pt x="401" y="596"/>
                    <a:pt x="443" y="602"/>
                    <a:pt x="482" y="593"/>
                  </a:cubicBezTo>
                  <a:cubicBezTo>
                    <a:pt x="543" y="579"/>
                    <a:pt x="595" y="530"/>
                    <a:pt x="605" y="468"/>
                  </a:cubicBezTo>
                  <a:cubicBezTo>
                    <a:pt x="575" y="479"/>
                    <a:pt x="540" y="470"/>
                    <a:pt x="518" y="447"/>
                  </a:cubicBezTo>
                  <a:cubicBezTo>
                    <a:pt x="496" y="424"/>
                    <a:pt x="489" y="388"/>
                    <a:pt x="501" y="359"/>
                  </a:cubicBezTo>
                  <a:cubicBezTo>
                    <a:pt x="507" y="344"/>
                    <a:pt x="518" y="330"/>
                    <a:pt x="533" y="324"/>
                  </a:cubicBezTo>
                  <a:cubicBezTo>
                    <a:pt x="554" y="315"/>
                    <a:pt x="580" y="322"/>
                    <a:pt x="597" y="337"/>
                  </a:cubicBezTo>
                  <a:cubicBezTo>
                    <a:pt x="614" y="353"/>
                    <a:pt x="626" y="373"/>
                    <a:pt x="630" y="396"/>
                  </a:cubicBezTo>
                  <a:cubicBezTo>
                    <a:pt x="666" y="343"/>
                    <a:pt x="697" y="241"/>
                    <a:pt x="682" y="151"/>
                  </a:cubicBezTo>
                  <a:cubicBezTo>
                    <a:pt x="726" y="184"/>
                    <a:pt x="746" y="248"/>
                    <a:pt x="753" y="317"/>
                  </a:cubicBezTo>
                  <a:cubicBezTo>
                    <a:pt x="787" y="271"/>
                    <a:pt x="792" y="206"/>
                    <a:pt x="771" y="153"/>
                  </a:cubicBezTo>
                </a:path>
              </a:pathLst>
            </a:custGeom>
            <a:solidFill>
              <a:srgbClr val="1728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43"/>
            <p:cNvSpPr>
              <a:spLocks/>
            </p:cNvSpPr>
            <p:nvPr/>
          </p:nvSpPr>
          <p:spPr bwMode="auto">
            <a:xfrm>
              <a:off x="3154" y="2171"/>
              <a:ext cx="87" cy="162"/>
            </a:xfrm>
            <a:custGeom>
              <a:avLst/>
              <a:gdLst>
                <a:gd name="T0" fmla="*/ 0 w 180"/>
                <a:gd name="T1" fmla="*/ 0 h 338"/>
                <a:gd name="T2" fmla="*/ 172 w 180"/>
                <a:gd name="T3" fmla="*/ 125 h 338"/>
                <a:gd name="T4" fmla="*/ 180 w 180"/>
                <a:gd name="T5" fmla="*/ 338 h 338"/>
                <a:gd name="T6" fmla="*/ 103 w 180"/>
                <a:gd name="T7" fmla="*/ 231 h 338"/>
                <a:gd name="T8" fmla="*/ 0 w 180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338">
                  <a:moveTo>
                    <a:pt x="0" y="0"/>
                  </a:moveTo>
                  <a:lnTo>
                    <a:pt x="172" y="125"/>
                  </a:lnTo>
                  <a:cubicBezTo>
                    <a:pt x="176" y="165"/>
                    <a:pt x="177" y="247"/>
                    <a:pt x="180" y="338"/>
                  </a:cubicBezTo>
                  <a:cubicBezTo>
                    <a:pt x="152" y="306"/>
                    <a:pt x="128" y="266"/>
                    <a:pt x="103" y="231"/>
                  </a:cubicBezTo>
                  <a:cubicBezTo>
                    <a:pt x="54" y="162"/>
                    <a:pt x="18" y="83"/>
                    <a:pt x="0" y="0"/>
                  </a:cubicBezTo>
                  <a:close/>
                </a:path>
              </a:pathLst>
            </a:custGeom>
            <a:solidFill>
              <a:srgbClr val="E2E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44"/>
            <p:cNvSpPr>
              <a:spLocks/>
            </p:cNvSpPr>
            <p:nvPr/>
          </p:nvSpPr>
          <p:spPr bwMode="auto">
            <a:xfrm>
              <a:off x="3313" y="1837"/>
              <a:ext cx="298" cy="389"/>
            </a:xfrm>
            <a:custGeom>
              <a:avLst/>
              <a:gdLst>
                <a:gd name="T0" fmla="*/ 298 w 298"/>
                <a:gd name="T1" fmla="*/ 109 h 389"/>
                <a:gd name="T2" fmla="*/ 201 w 298"/>
                <a:gd name="T3" fmla="*/ 389 h 389"/>
                <a:gd name="T4" fmla="*/ 0 w 298"/>
                <a:gd name="T5" fmla="*/ 278 h 389"/>
                <a:gd name="T6" fmla="*/ 96 w 298"/>
                <a:gd name="T7" fmla="*/ 0 h 389"/>
                <a:gd name="T8" fmla="*/ 298 w 298"/>
                <a:gd name="T9" fmla="*/ 10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389">
                  <a:moveTo>
                    <a:pt x="298" y="109"/>
                  </a:moveTo>
                  <a:lnTo>
                    <a:pt x="201" y="389"/>
                  </a:lnTo>
                  <a:lnTo>
                    <a:pt x="0" y="278"/>
                  </a:lnTo>
                  <a:lnTo>
                    <a:pt x="96" y="0"/>
                  </a:lnTo>
                  <a:lnTo>
                    <a:pt x="298" y="109"/>
                  </a:lnTo>
                  <a:close/>
                </a:path>
              </a:pathLst>
            </a:custGeom>
            <a:solidFill>
              <a:srgbClr val="BA3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45"/>
            <p:cNvSpPr>
              <a:spLocks/>
            </p:cNvSpPr>
            <p:nvPr/>
          </p:nvSpPr>
          <p:spPr bwMode="auto">
            <a:xfrm>
              <a:off x="3343" y="1873"/>
              <a:ext cx="238" cy="318"/>
            </a:xfrm>
            <a:custGeom>
              <a:avLst/>
              <a:gdLst>
                <a:gd name="T0" fmla="*/ 0 w 238"/>
                <a:gd name="T1" fmla="*/ 230 h 318"/>
                <a:gd name="T2" fmla="*/ 80 w 238"/>
                <a:gd name="T3" fmla="*/ 0 h 318"/>
                <a:gd name="T4" fmla="*/ 238 w 238"/>
                <a:gd name="T5" fmla="*/ 84 h 318"/>
                <a:gd name="T6" fmla="*/ 157 w 238"/>
                <a:gd name="T7" fmla="*/ 318 h 318"/>
                <a:gd name="T8" fmla="*/ 0 w 238"/>
                <a:gd name="T9" fmla="*/ 23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318">
                  <a:moveTo>
                    <a:pt x="0" y="230"/>
                  </a:moveTo>
                  <a:lnTo>
                    <a:pt x="80" y="0"/>
                  </a:lnTo>
                  <a:lnTo>
                    <a:pt x="238" y="84"/>
                  </a:lnTo>
                  <a:lnTo>
                    <a:pt x="157" y="318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246"/>
            <p:cNvSpPr>
              <a:spLocks/>
            </p:cNvSpPr>
            <p:nvPr/>
          </p:nvSpPr>
          <p:spPr bwMode="auto">
            <a:xfrm>
              <a:off x="3451" y="1881"/>
              <a:ext cx="91" cy="54"/>
            </a:xfrm>
            <a:custGeom>
              <a:avLst/>
              <a:gdLst>
                <a:gd name="T0" fmla="*/ 0 w 91"/>
                <a:gd name="T1" fmla="*/ 8 h 54"/>
                <a:gd name="T2" fmla="*/ 87 w 91"/>
                <a:gd name="T3" fmla="*/ 54 h 54"/>
                <a:gd name="T4" fmla="*/ 91 w 91"/>
                <a:gd name="T5" fmla="*/ 43 h 54"/>
                <a:gd name="T6" fmla="*/ 75 w 91"/>
                <a:gd name="T7" fmla="*/ 28 h 54"/>
                <a:gd name="T8" fmla="*/ 27 w 91"/>
                <a:gd name="T9" fmla="*/ 4 h 54"/>
                <a:gd name="T10" fmla="*/ 4 w 91"/>
                <a:gd name="T11" fmla="*/ 0 h 54"/>
                <a:gd name="T12" fmla="*/ 0 w 91"/>
                <a:gd name="T13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54">
                  <a:moveTo>
                    <a:pt x="0" y="8"/>
                  </a:moveTo>
                  <a:lnTo>
                    <a:pt x="87" y="54"/>
                  </a:lnTo>
                  <a:lnTo>
                    <a:pt x="91" y="43"/>
                  </a:lnTo>
                  <a:lnTo>
                    <a:pt x="75" y="28"/>
                  </a:lnTo>
                  <a:lnTo>
                    <a:pt x="27" y="4"/>
                  </a:lnTo>
                  <a:lnTo>
                    <a:pt x="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353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47"/>
            <p:cNvSpPr>
              <a:spLocks/>
            </p:cNvSpPr>
            <p:nvPr/>
          </p:nvSpPr>
          <p:spPr bwMode="auto">
            <a:xfrm>
              <a:off x="3478" y="1876"/>
              <a:ext cx="50" cy="33"/>
            </a:xfrm>
            <a:custGeom>
              <a:avLst/>
              <a:gdLst>
                <a:gd name="T0" fmla="*/ 0 w 50"/>
                <a:gd name="T1" fmla="*/ 9 h 33"/>
                <a:gd name="T2" fmla="*/ 3 w 50"/>
                <a:gd name="T3" fmla="*/ 0 h 33"/>
                <a:gd name="T4" fmla="*/ 50 w 50"/>
                <a:gd name="T5" fmla="*/ 25 h 33"/>
                <a:gd name="T6" fmla="*/ 48 w 50"/>
                <a:gd name="T7" fmla="*/ 33 h 33"/>
                <a:gd name="T8" fmla="*/ 0 w 50"/>
                <a:gd name="T9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3">
                  <a:moveTo>
                    <a:pt x="0" y="9"/>
                  </a:moveTo>
                  <a:lnTo>
                    <a:pt x="3" y="0"/>
                  </a:lnTo>
                  <a:lnTo>
                    <a:pt x="50" y="25"/>
                  </a:lnTo>
                  <a:lnTo>
                    <a:pt x="48" y="3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248"/>
            <p:cNvSpPr>
              <a:spLocks/>
            </p:cNvSpPr>
            <p:nvPr/>
          </p:nvSpPr>
          <p:spPr bwMode="auto">
            <a:xfrm>
              <a:off x="3454" y="1851"/>
              <a:ext cx="110" cy="67"/>
            </a:xfrm>
            <a:custGeom>
              <a:avLst/>
              <a:gdLst>
                <a:gd name="T0" fmla="*/ 0 w 110"/>
                <a:gd name="T1" fmla="*/ 10 h 67"/>
                <a:gd name="T2" fmla="*/ 106 w 110"/>
                <a:gd name="T3" fmla="*/ 67 h 67"/>
                <a:gd name="T4" fmla="*/ 110 w 110"/>
                <a:gd name="T5" fmla="*/ 56 h 67"/>
                <a:gd name="T6" fmla="*/ 3 w 110"/>
                <a:gd name="T7" fmla="*/ 0 h 67"/>
                <a:gd name="T8" fmla="*/ 0 w 110"/>
                <a:gd name="T9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67">
                  <a:moveTo>
                    <a:pt x="0" y="10"/>
                  </a:moveTo>
                  <a:lnTo>
                    <a:pt x="106" y="67"/>
                  </a:lnTo>
                  <a:lnTo>
                    <a:pt x="110" y="56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3353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249"/>
            <p:cNvSpPr>
              <a:spLocks/>
            </p:cNvSpPr>
            <p:nvPr/>
          </p:nvSpPr>
          <p:spPr bwMode="auto">
            <a:xfrm>
              <a:off x="3482" y="1835"/>
              <a:ext cx="65" cy="57"/>
            </a:xfrm>
            <a:custGeom>
              <a:avLst/>
              <a:gdLst>
                <a:gd name="T0" fmla="*/ 0 w 135"/>
                <a:gd name="T1" fmla="*/ 60 h 119"/>
                <a:gd name="T2" fmla="*/ 113 w 135"/>
                <a:gd name="T3" fmla="*/ 119 h 119"/>
                <a:gd name="T4" fmla="*/ 0 w 135"/>
                <a:gd name="T5" fmla="*/ 6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" h="119">
                  <a:moveTo>
                    <a:pt x="0" y="60"/>
                  </a:moveTo>
                  <a:cubicBezTo>
                    <a:pt x="20" y="0"/>
                    <a:pt x="135" y="57"/>
                    <a:pt x="113" y="119"/>
                  </a:cubicBezTo>
                  <a:lnTo>
                    <a:pt x="0" y="60"/>
                  </a:lnTo>
                  <a:close/>
                </a:path>
              </a:pathLst>
            </a:custGeom>
            <a:solidFill>
              <a:srgbClr val="273E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250"/>
            <p:cNvSpPr>
              <a:spLocks/>
            </p:cNvSpPr>
            <p:nvPr/>
          </p:nvSpPr>
          <p:spPr bwMode="auto">
            <a:xfrm>
              <a:off x="3213" y="2026"/>
              <a:ext cx="416" cy="355"/>
            </a:xfrm>
            <a:custGeom>
              <a:avLst/>
              <a:gdLst>
                <a:gd name="T0" fmla="*/ 178 w 866"/>
                <a:gd name="T1" fmla="*/ 304 h 738"/>
                <a:gd name="T2" fmla="*/ 332 w 866"/>
                <a:gd name="T3" fmla="*/ 504 h 738"/>
                <a:gd name="T4" fmla="*/ 600 w 866"/>
                <a:gd name="T5" fmla="*/ 240 h 738"/>
                <a:gd name="T6" fmla="*/ 627 w 866"/>
                <a:gd name="T7" fmla="*/ 186 h 738"/>
                <a:gd name="T8" fmla="*/ 703 w 866"/>
                <a:gd name="T9" fmla="*/ 27 h 738"/>
                <a:gd name="T10" fmla="*/ 697 w 866"/>
                <a:gd name="T11" fmla="*/ 132 h 738"/>
                <a:gd name="T12" fmla="*/ 730 w 866"/>
                <a:gd name="T13" fmla="*/ 113 h 738"/>
                <a:gd name="T14" fmla="*/ 769 w 866"/>
                <a:gd name="T15" fmla="*/ 0 h 738"/>
                <a:gd name="T16" fmla="*/ 787 w 866"/>
                <a:gd name="T17" fmla="*/ 0 h 738"/>
                <a:gd name="T18" fmla="*/ 829 w 866"/>
                <a:gd name="T19" fmla="*/ 30 h 738"/>
                <a:gd name="T20" fmla="*/ 846 w 866"/>
                <a:gd name="T21" fmla="*/ 78 h 738"/>
                <a:gd name="T22" fmla="*/ 796 w 866"/>
                <a:gd name="T23" fmla="*/ 238 h 738"/>
                <a:gd name="T24" fmla="*/ 737 w 866"/>
                <a:gd name="T25" fmla="*/ 282 h 738"/>
                <a:gd name="T26" fmla="*/ 715 w 866"/>
                <a:gd name="T27" fmla="*/ 306 h 738"/>
                <a:gd name="T28" fmla="*/ 401 w 866"/>
                <a:gd name="T29" fmla="*/ 707 h 738"/>
                <a:gd name="T30" fmla="*/ 300 w 866"/>
                <a:gd name="T31" fmla="*/ 717 h 738"/>
                <a:gd name="T32" fmla="*/ 0 w 866"/>
                <a:gd name="T33" fmla="*/ 426 h 738"/>
                <a:gd name="T34" fmla="*/ 178 w 866"/>
                <a:gd name="T35" fmla="*/ 304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6" h="738">
                  <a:moveTo>
                    <a:pt x="178" y="304"/>
                  </a:moveTo>
                  <a:lnTo>
                    <a:pt x="332" y="504"/>
                  </a:lnTo>
                  <a:lnTo>
                    <a:pt x="600" y="240"/>
                  </a:lnTo>
                  <a:cubicBezTo>
                    <a:pt x="615" y="226"/>
                    <a:pt x="625" y="206"/>
                    <a:pt x="627" y="186"/>
                  </a:cubicBezTo>
                  <a:cubicBezTo>
                    <a:pt x="640" y="86"/>
                    <a:pt x="668" y="14"/>
                    <a:pt x="703" y="27"/>
                  </a:cubicBezTo>
                  <a:cubicBezTo>
                    <a:pt x="726" y="35"/>
                    <a:pt x="697" y="132"/>
                    <a:pt x="697" y="132"/>
                  </a:cubicBezTo>
                  <a:lnTo>
                    <a:pt x="730" y="113"/>
                  </a:lnTo>
                  <a:lnTo>
                    <a:pt x="769" y="0"/>
                  </a:lnTo>
                  <a:lnTo>
                    <a:pt x="787" y="0"/>
                  </a:lnTo>
                  <a:cubicBezTo>
                    <a:pt x="806" y="0"/>
                    <a:pt x="823" y="12"/>
                    <a:pt x="829" y="30"/>
                  </a:cubicBezTo>
                  <a:lnTo>
                    <a:pt x="846" y="78"/>
                  </a:lnTo>
                  <a:cubicBezTo>
                    <a:pt x="866" y="137"/>
                    <a:pt x="846" y="202"/>
                    <a:pt x="796" y="238"/>
                  </a:cubicBezTo>
                  <a:lnTo>
                    <a:pt x="737" y="282"/>
                  </a:lnTo>
                  <a:cubicBezTo>
                    <a:pt x="729" y="288"/>
                    <a:pt x="721" y="296"/>
                    <a:pt x="715" y="306"/>
                  </a:cubicBezTo>
                  <a:cubicBezTo>
                    <a:pt x="599" y="481"/>
                    <a:pt x="476" y="630"/>
                    <a:pt x="401" y="707"/>
                  </a:cubicBezTo>
                  <a:cubicBezTo>
                    <a:pt x="374" y="734"/>
                    <a:pt x="332" y="738"/>
                    <a:pt x="300" y="717"/>
                  </a:cubicBezTo>
                  <a:cubicBezTo>
                    <a:pt x="136" y="609"/>
                    <a:pt x="0" y="426"/>
                    <a:pt x="0" y="426"/>
                  </a:cubicBezTo>
                  <a:lnTo>
                    <a:pt x="178" y="304"/>
                  </a:lnTo>
                </a:path>
              </a:pathLst>
            </a:custGeom>
            <a:solidFill>
              <a:srgbClr val="E7AB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251"/>
            <p:cNvSpPr>
              <a:spLocks/>
            </p:cNvSpPr>
            <p:nvPr/>
          </p:nvSpPr>
          <p:spPr bwMode="auto">
            <a:xfrm>
              <a:off x="3127" y="2056"/>
              <a:ext cx="237" cy="274"/>
            </a:xfrm>
            <a:custGeom>
              <a:avLst/>
              <a:gdLst>
                <a:gd name="T0" fmla="*/ 53 w 494"/>
                <a:gd name="T1" fmla="*/ 0 h 571"/>
                <a:gd name="T2" fmla="*/ 79 w 494"/>
                <a:gd name="T3" fmla="*/ 3 h 571"/>
                <a:gd name="T4" fmla="*/ 298 w 494"/>
                <a:gd name="T5" fmla="*/ 128 h 571"/>
                <a:gd name="T6" fmla="*/ 494 w 494"/>
                <a:gd name="T7" fmla="*/ 383 h 571"/>
                <a:gd name="T8" fmla="*/ 329 w 494"/>
                <a:gd name="T9" fmla="*/ 571 h 571"/>
                <a:gd name="T10" fmla="*/ 113 w 494"/>
                <a:gd name="T11" fmla="*/ 343 h 571"/>
                <a:gd name="T12" fmla="*/ 53 w 494"/>
                <a:gd name="T13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4" h="571">
                  <a:moveTo>
                    <a:pt x="53" y="0"/>
                  </a:moveTo>
                  <a:lnTo>
                    <a:pt x="79" y="3"/>
                  </a:lnTo>
                  <a:cubicBezTo>
                    <a:pt x="166" y="14"/>
                    <a:pt x="245" y="59"/>
                    <a:pt x="298" y="128"/>
                  </a:cubicBezTo>
                  <a:lnTo>
                    <a:pt x="494" y="383"/>
                  </a:lnTo>
                  <a:cubicBezTo>
                    <a:pt x="476" y="544"/>
                    <a:pt x="329" y="571"/>
                    <a:pt x="329" y="571"/>
                  </a:cubicBezTo>
                  <a:lnTo>
                    <a:pt x="113" y="343"/>
                  </a:lnTo>
                  <a:cubicBezTo>
                    <a:pt x="0" y="221"/>
                    <a:pt x="53" y="0"/>
                    <a:pt x="53" y="0"/>
                  </a:cubicBezTo>
                  <a:close/>
                </a:path>
              </a:pathLst>
            </a:custGeom>
            <a:solidFill>
              <a:srgbClr val="BA39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99765" y="659138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1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354473" y="93617"/>
            <a:ext cx="7918564" cy="834017"/>
            <a:chOff x="2649517" y="-115341"/>
            <a:chExt cx="5083420" cy="1810067"/>
          </a:xfrm>
        </p:grpSpPr>
        <p:sp>
          <p:nvSpPr>
            <p:cNvPr id="264" name="Прямоугольник 263"/>
            <p:cNvSpPr/>
            <p:nvPr/>
          </p:nvSpPr>
          <p:spPr>
            <a:xfrm>
              <a:off x="2662820" y="1383350"/>
              <a:ext cx="4111645" cy="3113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64FE826E-BE82-4D4C-B7FB-6C52F8FA8F9B}"/>
                </a:ext>
              </a:extLst>
            </p:cNvPr>
            <p:cNvSpPr txBox="1"/>
            <p:nvPr/>
          </p:nvSpPr>
          <p:spPr>
            <a:xfrm>
              <a:off x="2649517" y="-115341"/>
              <a:ext cx="5083420" cy="10984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lang="ru-RU"/>
              </a:defPPr>
              <a:lvl1pPr marR="0" lvl="0" indent="0" algn="ctr" defTabSz="685800" fontAlgn="auto">
                <a:lnSpc>
                  <a:spcPct val="10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kumimoji="0" sz="28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 SemiBold SemiConden" panose="020B0502040204020203" pitchFamily="34" charset="0"/>
                </a:defRPr>
              </a:lvl1pPr>
              <a:lvl2pPr marR="0" lv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2pPr>
              <a:lvl3pPr marR="0" lvl="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3pPr>
              <a:lvl4pPr marR="0" lvl="3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4pPr>
              <a:lvl5pPr marR="0" lvl="4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5pPr>
              <a:lvl6pPr marR="0" lvl="5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6pPr>
              <a:lvl7pPr marR="0" lvl="6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7pPr>
              <a:lvl8pPr marR="0" lvl="7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8pPr>
              <a:lvl9pPr marR="0" lvl="8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Oswald"/>
                <a:buNone/>
                <a:defRPr sz="2800" b="1" i="0" u="none" strike="noStrike" cap="none">
                  <a:solidFill>
                    <a:schemeClr val="dk1"/>
                  </a:solidFill>
                  <a:latin typeface="Oswald"/>
                  <a:ea typeface="Oswald"/>
                  <a:cs typeface="Oswald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ru-RU" dirty="0" smtClean="0"/>
                <a:t>ЧТО НУЖНО ИЗМЕНИТЬ ПО ВЕРСИИ ПОЛЬЗОВАТЕЛЕЙ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275" name="Заголовок 1"/>
          <p:cNvSpPr txBox="1">
            <a:spLocks/>
          </p:cNvSpPr>
          <p:nvPr/>
        </p:nvSpPr>
        <p:spPr>
          <a:xfrm>
            <a:off x="961208" y="667403"/>
            <a:ext cx="7206121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Улучшить обучение/Добавить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инструкции</a:t>
            </a:r>
            <a:r>
              <a:rPr kumimoji="0" lang="en-US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(37% 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ользователей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Мероприятия</a:t>
            </a:r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:</a:t>
            </a: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 По текущим приложениям запланировано создание приложения навигатор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с обзором доступных функций</a:t>
            </a:r>
            <a:endParaRPr kumimoji="0" lang="ru-RU" sz="1200" i="0" u="none" strike="noStrike" kern="1200" cap="none" spc="0" normalizeH="0" noProof="0" dirty="0" smtClean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99765" y="1560016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2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99765" y="2834514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3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79" name="Заголовок 1"/>
          <p:cNvSpPr txBox="1">
            <a:spLocks/>
          </p:cNvSpPr>
          <p:nvPr/>
        </p:nvSpPr>
        <p:spPr>
          <a:xfrm>
            <a:off x="912522" y="2878644"/>
            <a:ext cx="7202640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ри разработке учитывать потребности целевых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одразделений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74381" y="3366686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4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82" name="Заголовок 1"/>
          <p:cNvSpPr txBox="1">
            <a:spLocks/>
          </p:cNvSpPr>
          <p:nvPr/>
        </p:nvSpPr>
        <p:spPr>
          <a:xfrm>
            <a:off x="916885" y="3388512"/>
            <a:ext cx="8955551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Обновлять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данные с учетом времени 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филиалов (54% опрошенных пользователей не понимают частоту обновления)</a:t>
            </a:r>
            <a:endParaRPr kumimoji="0" lang="ru-RU" sz="14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>
              <a:defRPr/>
            </a:pPr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Мероприятия: </a:t>
            </a: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Увеличить частоту выгрузки данных по фактической погрузке (выполнено, проставлено 3 раза в сутки)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Bahnschrift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112667" y="4742533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6</a:t>
            </a: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84" name="Заголовок 1"/>
          <p:cNvSpPr txBox="1">
            <a:spLocks/>
          </p:cNvSpPr>
          <p:nvPr/>
        </p:nvSpPr>
        <p:spPr>
          <a:xfrm>
            <a:off x="905646" y="4292092"/>
            <a:ext cx="6197698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Обучить </a:t>
            </a:r>
            <a:r>
              <a:rPr kumimoji="0" lang="ru-RU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ереиспользовать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данные под свой филиал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6" name="Заголовок 1"/>
          <p:cNvSpPr txBox="1">
            <a:spLocks/>
          </p:cNvSpPr>
          <p:nvPr/>
        </p:nvSpPr>
        <p:spPr>
          <a:xfrm>
            <a:off x="932679" y="4857376"/>
            <a:ext cx="7432940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Упростить подачу информации (переделать интерфейс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)</a:t>
            </a:r>
            <a:endParaRPr kumimoji="0" lang="en-US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>
              <a:defRPr/>
            </a:pPr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Мероприятия</a:t>
            </a: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: добавить максимальное количество фильтров, дописать легенды единиц измерений, удалить неиспользуемые отчеты, добавить единую сегментацию клиентов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Bahnschrift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7" name="Заголовок 1"/>
          <p:cNvSpPr txBox="1">
            <a:spLocks/>
          </p:cNvSpPr>
          <p:nvPr/>
        </p:nvSpPr>
        <p:spPr>
          <a:xfrm>
            <a:off x="950324" y="5720378"/>
            <a:ext cx="5272594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Увеличить регулярность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новостей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141784" y="5657657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7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  <p:sp>
        <p:nvSpPr>
          <p:cNvPr id="274" name="Заголовок 1"/>
          <p:cNvSpPr txBox="1">
            <a:spLocks/>
          </p:cNvSpPr>
          <p:nvPr/>
        </p:nvSpPr>
        <p:spPr>
          <a:xfrm>
            <a:off x="950324" y="1531274"/>
            <a:ext cx="7206121" cy="44464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75000"/>
                    <a:lumOff val="25000"/>
                  </a:srgbClr>
                </a:solidFill>
                <a:latin typeface="Bahnschrift SemiBold SemiConden" panose="020B05020402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Улучшить </a:t>
            </a:r>
            <a:r>
              <a:rPr kumimoji="0" lang="ru-RU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оиск нужного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 отчета </a:t>
            </a:r>
            <a:r>
              <a:rPr kumimoji="0" lang="en-US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(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52</a:t>
            </a:r>
            <a:r>
              <a:rPr kumimoji="0" lang="en-US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% </a:t>
            </a:r>
            <a:r>
              <a:rPr kumimoji="0" lang="ru-RU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hnschrift Light" panose="020B0502040204020203" pitchFamily="34" charset="0"/>
              </a:rPr>
              <a:t>пользователей не могут найти ответ на вопрос или испытывают трудности с поиском нужного отчет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Мероприятия</a:t>
            </a:r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:</a:t>
            </a: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 По текущим приложениям запланировано создание приложения навигатора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Bahnschrift Light" panose="020B0502040204020203" pitchFamily="34" charset="0"/>
              </a:rPr>
              <a:t>с обзором доступных функций</a:t>
            </a:r>
            <a:endParaRPr kumimoji="0" lang="ru-RU" sz="1200" i="0" u="none" strike="noStrike" kern="1200" cap="none" spc="0" normalizeH="0" noProof="0" dirty="0" smtClean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Bahnschrift Light" panose="020B0502040204020203" pitchFamily="34" charset="0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779CC196-5977-43F5-B6C0-35AFB1C16FD1}"/>
              </a:ext>
            </a:extLst>
          </p:cNvPr>
          <p:cNvSpPr txBox="1"/>
          <p:nvPr/>
        </p:nvSpPr>
        <p:spPr>
          <a:xfrm>
            <a:off x="97244" y="4165083"/>
            <a:ext cx="13789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Bahnschrift SemiBold SemiConden" panose="020B0502040204020203" pitchFamily="34" charset="0"/>
                <a:ea typeface="+mn-ea"/>
                <a:cs typeface="+mn-cs"/>
              </a:rPr>
              <a:t>5.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Bahnschrift SemiBold SemiConden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67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FtJ0aQGOzxozgbg6Hm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FtJ0aQGOzxozgbg6Hm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33ycRhUSgvKfE5z_0k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XTe8aSFu1rNui2arQk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XTe8aSFu1rNui2arQk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YXTe8aSFu1rNui2arQ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heme/theme1.xml><?xml version="1.0" encoding="utf-8"?>
<a:theme xmlns:a="http://schemas.openxmlformats.org/drawingml/2006/main" name="White">
  <a:themeElements>
    <a:clrScheme name="Custom 1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A0E33"/>
      </a:accent1>
      <a:accent2>
        <a:srgbClr val="C17A75"/>
      </a:accent2>
      <a:accent3>
        <a:srgbClr val="80B2A1"/>
      </a:accent3>
      <a:accent4>
        <a:srgbClr val="E6E6E6"/>
      </a:accent4>
      <a:accent5>
        <a:srgbClr val="E8AC16"/>
      </a:accent5>
      <a:accent6>
        <a:srgbClr val="A6A6A6"/>
      </a:accent6>
      <a:hlink>
        <a:srgbClr val="4B8FD2"/>
      </a:hlink>
      <a:folHlink>
        <a:srgbClr val="B6869E"/>
      </a:folHlink>
    </a:clrScheme>
    <a:fontScheme name="Custom 4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9A0E33"/>
        </a:dk2>
        <a:lt2>
          <a:srgbClr val="FFFFFF"/>
        </a:lt2>
        <a:accent1>
          <a:srgbClr val="9A0E33"/>
        </a:accent1>
        <a:accent2>
          <a:srgbClr val="C17A75"/>
        </a:accent2>
        <a:accent3>
          <a:srgbClr val="80B2A1"/>
        </a:accent3>
        <a:accent4>
          <a:srgbClr val="E6E6E6"/>
        </a:accent4>
        <a:accent5>
          <a:srgbClr val="E8AC16"/>
        </a:accent5>
        <a:accent6>
          <a:srgbClr val="A6A6A6"/>
        </a:accent6>
        <a:hlink>
          <a:srgbClr val="4B8FD2"/>
        </a:hlink>
        <a:folHlink>
          <a:srgbClr val="B6869E"/>
        </a:folHlink>
      </a:clrScheme>
    </a:extraClrScheme>
  </a:extraClrSchemeLst>
  <a:custClrLst>
    <a:custClr name="Custom 1">
      <a:srgbClr val="4D4D4D"/>
    </a:custClr>
    <a:custClr name="Custom 2">
      <a:srgbClr val="7F7F7F"/>
    </a:custClr>
    <a:custClr name="Custom 3">
      <a:srgbClr val="B3B3B3"/>
    </a:custClr>
    <a:custClr name="Custom 4">
      <a:srgbClr val="D0D0D0"/>
    </a:custClr>
    <a:custClr name="Custom 5">
      <a:srgbClr val="E6E6E6"/>
    </a:custClr>
  </a:custClrLst>
  <a:extLst>
    <a:ext uri="{05A4C25C-085E-4340-85A3-A5531E510DB2}">
      <thm15:themeFamily xmlns:thm15="http://schemas.microsoft.com/office/thememl/2012/main" name="Первая грузовая компания_First freight company_NVI_16x9_(2021).potx" id="{26EC6B3E-EADE-4FA2-BD6F-6104A49C9BB5}" vid="{D258D88B-57CA-4878-A863-081523481FBE}"/>
    </a:ext>
  </a:extLst>
</a:theme>
</file>

<file path=ppt/theme/theme2.xml><?xml version="1.0" encoding="utf-8"?>
<a:theme xmlns:a="http://schemas.openxmlformats.org/drawingml/2006/main" name="1_White">
  <a:themeElements>
    <a:clrScheme name="Custom 1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A0E33"/>
      </a:accent1>
      <a:accent2>
        <a:srgbClr val="C17A75"/>
      </a:accent2>
      <a:accent3>
        <a:srgbClr val="80B2A1"/>
      </a:accent3>
      <a:accent4>
        <a:srgbClr val="E6E6E6"/>
      </a:accent4>
      <a:accent5>
        <a:srgbClr val="E8AC16"/>
      </a:accent5>
      <a:accent6>
        <a:srgbClr val="A6A6A6"/>
      </a:accent6>
      <a:hlink>
        <a:srgbClr val="4B8FD2"/>
      </a:hlink>
      <a:folHlink>
        <a:srgbClr val="B6869E"/>
      </a:folHlink>
    </a:clrScheme>
    <a:fontScheme name="Custom 4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9A0E33"/>
        </a:dk2>
        <a:lt2>
          <a:srgbClr val="FFFFFF"/>
        </a:lt2>
        <a:accent1>
          <a:srgbClr val="9A0E33"/>
        </a:accent1>
        <a:accent2>
          <a:srgbClr val="C17A75"/>
        </a:accent2>
        <a:accent3>
          <a:srgbClr val="80B2A1"/>
        </a:accent3>
        <a:accent4>
          <a:srgbClr val="E6E6E6"/>
        </a:accent4>
        <a:accent5>
          <a:srgbClr val="E8AC16"/>
        </a:accent5>
        <a:accent6>
          <a:srgbClr val="A6A6A6"/>
        </a:accent6>
        <a:hlink>
          <a:srgbClr val="4B8FD2"/>
        </a:hlink>
        <a:folHlink>
          <a:srgbClr val="B6869E"/>
        </a:folHlink>
      </a:clrScheme>
    </a:extraClrScheme>
  </a:extraClrSchemeLst>
  <a:custClrLst>
    <a:custClr name="Custom 1">
      <a:srgbClr val="4D4D4D"/>
    </a:custClr>
    <a:custClr name="Custom 2">
      <a:srgbClr val="7F7F7F"/>
    </a:custClr>
    <a:custClr name="Custom 3">
      <a:srgbClr val="B3B3B3"/>
    </a:custClr>
    <a:custClr name="Custom 4">
      <a:srgbClr val="D0D0D0"/>
    </a:custClr>
    <a:custClr name="Custom 5">
      <a:srgbClr val="E6E6E6"/>
    </a:custClr>
  </a:custClrLst>
  <a:extLst>
    <a:ext uri="{05A4C25C-085E-4340-85A3-A5531E510DB2}">
      <thm15:themeFamily xmlns:thm15="http://schemas.microsoft.com/office/thememl/2012/main" name="Первая грузовая компания_First freight company_NVI_16x9_(2021).potx" id="{26EC6B3E-EADE-4FA2-BD6F-6104A49C9BB5}" vid="{D258D88B-57CA-4878-A863-081523481FBE}"/>
    </a:ext>
  </a:extLst>
</a:theme>
</file>

<file path=ppt/theme/theme3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12_Gray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476BF"/>
      </a:accent1>
      <a:accent2>
        <a:srgbClr val="0E5A8B"/>
      </a:accent2>
      <a:accent3>
        <a:srgbClr val="32ACFA"/>
      </a:accent3>
      <a:accent4>
        <a:srgbClr val="A1A1A1"/>
      </a:accent4>
      <a:accent5>
        <a:srgbClr val="0588DB"/>
      </a:accent5>
      <a:accent6>
        <a:srgbClr val="525252"/>
      </a:accent6>
      <a:hlink>
        <a:srgbClr val="0066CC"/>
      </a:hlink>
      <a:folHlink>
        <a:srgbClr val="45C9C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2_Custom Design">
  <a:themeElements>
    <a:clrScheme name="12_Gray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476BF"/>
      </a:accent1>
      <a:accent2>
        <a:srgbClr val="0E5A8B"/>
      </a:accent2>
      <a:accent3>
        <a:srgbClr val="32ACFA"/>
      </a:accent3>
      <a:accent4>
        <a:srgbClr val="A1A1A1"/>
      </a:accent4>
      <a:accent5>
        <a:srgbClr val="0588DB"/>
      </a:accent5>
      <a:accent6>
        <a:srgbClr val="525252"/>
      </a:accent6>
      <a:hlink>
        <a:srgbClr val="0066CC"/>
      </a:hlink>
      <a:folHlink>
        <a:srgbClr val="45C9C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2_White">
  <a:themeElements>
    <a:clrScheme name="Custom 1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A0E33"/>
      </a:accent1>
      <a:accent2>
        <a:srgbClr val="C17A75"/>
      </a:accent2>
      <a:accent3>
        <a:srgbClr val="80B2A1"/>
      </a:accent3>
      <a:accent4>
        <a:srgbClr val="E6E6E6"/>
      </a:accent4>
      <a:accent5>
        <a:srgbClr val="E8AC16"/>
      </a:accent5>
      <a:accent6>
        <a:srgbClr val="A6A6A6"/>
      </a:accent6>
      <a:hlink>
        <a:srgbClr val="4B8FD2"/>
      </a:hlink>
      <a:folHlink>
        <a:srgbClr val="B6869E"/>
      </a:folHlink>
    </a:clrScheme>
    <a:fontScheme name="Custom 4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9A0E33"/>
        </a:dk2>
        <a:lt2>
          <a:srgbClr val="FFFFFF"/>
        </a:lt2>
        <a:accent1>
          <a:srgbClr val="9A0E33"/>
        </a:accent1>
        <a:accent2>
          <a:srgbClr val="C17A75"/>
        </a:accent2>
        <a:accent3>
          <a:srgbClr val="80B2A1"/>
        </a:accent3>
        <a:accent4>
          <a:srgbClr val="E6E6E6"/>
        </a:accent4>
        <a:accent5>
          <a:srgbClr val="E8AC16"/>
        </a:accent5>
        <a:accent6>
          <a:srgbClr val="A6A6A6"/>
        </a:accent6>
        <a:hlink>
          <a:srgbClr val="4B8FD2"/>
        </a:hlink>
        <a:folHlink>
          <a:srgbClr val="B6869E"/>
        </a:folHlink>
      </a:clrScheme>
    </a:extraClrScheme>
  </a:extraClrSchemeLst>
  <a:custClrLst>
    <a:custClr name="Custom 1">
      <a:srgbClr val="4D4D4D"/>
    </a:custClr>
    <a:custClr name="Custom 2">
      <a:srgbClr val="7F7F7F"/>
    </a:custClr>
    <a:custClr name="Custom 3">
      <a:srgbClr val="B3B3B3"/>
    </a:custClr>
    <a:custClr name="Custom 4">
      <a:srgbClr val="D0D0D0"/>
    </a:custClr>
    <a:custClr name="Custom 5">
      <a:srgbClr val="E6E6E6"/>
    </a:custClr>
  </a:custClrLst>
  <a:extLst>
    <a:ext uri="{05A4C25C-085E-4340-85A3-A5531E510DB2}">
      <thm15:themeFamily xmlns:thm15="http://schemas.microsoft.com/office/thememl/2012/main" name="Первая грузовая компания_First freight company_NVI_16x9_(2021).potx" id="{26EC6B3E-EADE-4FA2-BD6F-6104A49C9BB5}" vid="{D258D88B-57CA-4878-A863-081523481FBE}"/>
    </a:ext>
  </a:extLst>
</a:theme>
</file>

<file path=ppt/theme/theme7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33</TotalTime>
  <Words>386</Words>
  <Application>Microsoft Office PowerPoint</Application>
  <PresentationFormat>Широкоэкранный</PresentationFormat>
  <Paragraphs>70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26" baseType="lpstr">
      <vt:lpstr>맑은 고딕</vt:lpstr>
      <vt:lpstr>Arial</vt:lpstr>
      <vt:lpstr>Bahnschrift</vt:lpstr>
      <vt:lpstr>Bahnschrift Light</vt:lpstr>
      <vt:lpstr>Bahnschrift SemiBold</vt:lpstr>
      <vt:lpstr>Bahnschrift SemiBold SemiConden</vt:lpstr>
      <vt:lpstr>Calibri</vt:lpstr>
      <vt:lpstr>Calibri Light</vt:lpstr>
      <vt:lpstr>FontAwesome</vt:lpstr>
      <vt:lpstr>Segoe UI</vt:lpstr>
      <vt:lpstr>Segoe UI Black</vt:lpstr>
      <vt:lpstr>Tahoma</vt:lpstr>
      <vt:lpstr>Wingdings</vt:lpstr>
      <vt:lpstr>White</vt:lpstr>
      <vt:lpstr>1_White</vt:lpstr>
      <vt:lpstr>3_Тема Office</vt:lpstr>
      <vt:lpstr>1_Custom Design</vt:lpstr>
      <vt:lpstr>2_Custom Design</vt:lpstr>
      <vt:lpstr>2_White</vt:lpstr>
      <vt:lpstr>4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телкин Александр Анатольевич</dc:creator>
  <cp:lastModifiedBy>Ивушкин Николай Сергеевич</cp:lastModifiedBy>
  <cp:revision>2433</cp:revision>
  <cp:lastPrinted>2024-02-05T05:49:52Z</cp:lastPrinted>
  <dcterms:created xsi:type="dcterms:W3CDTF">2023-05-05T11:39:33Z</dcterms:created>
  <dcterms:modified xsi:type="dcterms:W3CDTF">2024-03-11T12:22:24Z</dcterms:modified>
</cp:coreProperties>
</file>